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4"/>
  </p:sldMasterIdLst>
  <p:notesMasterIdLst>
    <p:notesMasterId r:id="rId122"/>
  </p:notesMasterIdLst>
  <p:handoutMasterIdLst>
    <p:handoutMasterId r:id="rId123"/>
  </p:handoutMasterIdLst>
  <p:sldIdLst>
    <p:sldId id="528" r:id="rId5"/>
    <p:sldId id="3413" r:id="rId6"/>
    <p:sldId id="3409" r:id="rId7"/>
    <p:sldId id="3414" r:id="rId8"/>
    <p:sldId id="3410" r:id="rId9"/>
    <p:sldId id="3415" r:id="rId10"/>
    <p:sldId id="3411" r:id="rId11"/>
    <p:sldId id="3416" r:id="rId12"/>
    <p:sldId id="3391" r:id="rId13"/>
    <p:sldId id="526" r:id="rId14"/>
    <p:sldId id="533" r:id="rId15"/>
    <p:sldId id="540" r:id="rId16"/>
    <p:sldId id="3408" r:id="rId17"/>
    <p:sldId id="535" r:id="rId18"/>
    <p:sldId id="3377" r:id="rId19"/>
    <p:sldId id="542" r:id="rId20"/>
    <p:sldId id="543" r:id="rId21"/>
    <p:sldId id="544" r:id="rId22"/>
    <p:sldId id="545" r:id="rId23"/>
    <p:sldId id="364" r:id="rId24"/>
    <p:sldId id="537" r:id="rId25"/>
    <p:sldId id="3378" r:id="rId26"/>
    <p:sldId id="538" r:id="rId27"/>
    <p:sldId id="548" r:id="rId28"/>
    <p:sldId id="527" r:id="rId29"/>
    <p:sldId id="3412" r:id="rId30"/>
    <p:sldId id="650" r:id="rId31"/>
    <p:sldId id="3361" r:id="rId32"/>
    <p:sldId id="3356" r:id="rId33"/>
    <p:sldId id="3359" r:id="rId34"/>
    <p:sldId id="3375" r:id="rId35"/>
    <p:sldId id="3376" r:id="rId36"/>
    <p:sldId id="3360" r:id="rId37"/>
    <p:sldId id="651" r:id="rId38"/>
    <p:sldId id="655" r:id="rId39"/>
    <p:sldId id="3362" r:id="rId40"/>
    <p:sldId id="3363" r:id="rId41"/>
    <p:sldId id="624" r:id="rId42"/>
    <p:sldId id="3419" r:id="rId43"/>
    <p:sldId id="604" r:id="rId44"/>
    <p:sldId id="609" r:id="rId45"/>
    <p:sldId id="3368" r:id="rId46"/>
    <p:sldId id="3369" r:id="rId47"/>
    <p:sldId id="3370" r:id="rId48"/>
    <p:sldId id="3371" r:id="rId49"/>
    <p:sldId id="3373" r:id="rId50"/>
    <p:sldId id="541" r:id="rId51"/>
    <p:sldId id="3374" r:id="rId52"/>
    <p:sldId id="652" r:id="rId53"/>
    <p:sldId id="610" r:id="rId54"/>
    <p:sldId id="656" r:id="rId55"/>
    <p:sldId id="3418" r:id="rId56"/>
    <p:sldId id="611" r:id="rId57"/>
    <p:sldId id="612" r:id="rId58"/>
    <p:sldId id="613" r:id="rId59"/>
    <p:sldId id="616" r:id="rId60"/>
    <p:sldId id="657" r:id="rId61"/>
    <p:sldId id="617" r:id="rId62"/>
    <p:sldId id="618" r:id="rId63"/>
    <p:sldId id="619" r:id="rId64"/>
    <p:sldId id="622" r:id="rId65"/>
    <p:sldId id="623" r:id="rId66"/>
    <p:sldId id="615" r:id="rId67"/>
    <p:sldId id="621" r:id="rId68"/>
    <p:sldId id="614" r:id="rId69"/>
    <p:sldId id="620" r:id="rId70"/>
    <p:sldId id="626" r:id="rId71"/>
    <p:sldId id="3417" r:id="rId72"/>
    <p:sldId id="3354" r:id="rId73"/>
    <p:sldId id="369" r:id="rId74"/>
    <p:sldId id="326" r:id="rId75"/>
    <p:sldId id="653" r:id="rId76"/>
    <p:sldId id="576" r:id="rId77"/>
    <p:sldId id="658" r:id="rId78"/>
    <p:sldId id="647" r:id="rId79"/>
    <p:sldId id="589" r:id="rId80"/>
    <p:sldId id="643" r:id="rId81"/>
    <p:sldId id="592" r:id="rId82"/>
    <p:sldId id="590" r:id="rId83"/>
    <p:sldId id="599" r:id="rId84"/>
    <p:sldId id="600" r:id="rId85"/>
    <p:sldId id="583" r:id="rId86"/>
    <p:sldId id="568" r:id="rId87"/>
    <p:sldId id="578" r:id="rId88"/>
    <p:sldId id="663" r:id="rId89"/>
    <p:sldId id="3353" r:id="rId90"/>
    <p:sldId id="524" r:id="rId91"/>
    <p:sldId id="3364" r:id="rId92"/>
    <p:sldId id="3365" r:id="rId93"/>
    <p:sldId id="659" r:id="rId94"/>
    <p:sldId id="601" r:id="rId95"/>
    <p:sldId id="662" r:id="rId96"/>
    <p:sldId id="602" r:id="rId97"/>
    <p:sldId id="654" r:id="rId98"/>
    <p:sldId id="546" r:id="rId99"/>
    <p:sldId id="661" r:id="rId100"/>
    <p:sldId id="635" r:id="rId101"/>
    <p:sldId id="660" r:id="rId102"/>
    <p:sldId id="534" r:id="rId103"/>
    <p:sldId id="645" r:id="rId104"/>
    <p:sldId id="562" r:id="rId105"/>
    <p:sldId id="565" r:id="rId106"/>
    <p:sldId id="646" r:id="rId107"/>
    <p:sldId id="644" r:id="rId108"/>
    <p:sldId id="637" r:id="rId109"/>
    <p:sldId id="553" r:id="rId110"/>
    <p:sldId id="638" r:id="rId111"/>
    <p:sldId id="639" r:id="rId112"/>
    <p:sldId id="555" r:id="rId113"/>
    <p:sldId id="640" r:id="rId114"/>
    <p:sldId id="3366" r:id="rId115"/>
    <p:sldId id="579" r:id="rId116"/>
    <p:sldId id="642" r:id="rId117"/>
    <p:sldId id="648" r:id="rId118"/>
    <p:sldId id="627" r:id="rId119"/>
    <p:sldId id="628" r:id="rId120"/>
    <p:sldId id="630" r:id="rId12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" id="{1DC75F73-E6D6-4559-BEEF-B47DA8BF6A03}">
          <p14:sldIdLst>
            <p14:sldId id="528"/>
            <p14:sldId id="3413"/>
            <p14:sldId id="3409"/>
            <p14:sldId id="3414"/>
            <p14:sldId id="3410"/>
            <p14:sldId id="3415"/>
            <p14:sldId id="3411"/>
            <p14:sldId id="3416"/>
            <p14:sldId id="3391"/>
            <p14:sldId id="526"/>
            <p14:sldId id="533"/>
            <p14:sldId id="540"/>
            <p14:sldId id="3408"/>
            <p14:sldId id="535"/>
            <p14:sldId id="3377"/>
            <p14:sldId id="542"/>
            <p14:sldId id="543"/>
            <p14:sldId id="544"/>
            <p14:sldId id="545"/>
            <p14:sldId id="364"/>
            <p14:sldId id="537"/>
            <p14:sldId id="3378"/>
            <p14:sldId id="538"/>
            <p14:sldId id="548"/>
            <p14:sldId id="527"/>
            <p14:sldId id="3412"/>
          </p14:sldIdLst>
        </p14:section>
        <p14:section name="Folienbibliothek" id="{BA87BFD0-2A45-4F5A-B90B-9ACACD430E10}">
          <p14:sldIdLst>
            <p14:sldId id="650"/>
            <p14:sldId id="3361"/>
            <p14:sldId id="3356"/>
            <p14:sldId id="3359"/>
            <p14:sldId id="3375"/>
            <p14:sldId id="3376"/>
            <p14:sldId id="3360"/>
            <p14:sldId id="651"/>
          </p14:sldIdLst>
        </p14:section>
        <p14:section name="Beispielfolien" id="{8459E66B-5510-4990-9E5A-3B03261F1EFD}">
          <p14:sldIdLst>
            <p14:sldId id="655"/>
            <p14:sldId id="3362"/>
            <p14:sldId id="3363"/>
            <p14:sldId id="624"/>
            <p14:sldId id="3419"/>
            <p14:sldId id="604"/>
            <p14:sldId id="609"/>
            <p14:sldId id="3368"/>
            <p14:sldId id="3369"/>
            <p14:sldId id="3370"/>
            <p14:sldId id="3371"/>
            <p14:sldId id="3373"/>
            <p14:sldId id="541"/>
            <p14:sldId id="3374"/>
          </p14:sldIdLst>
        </p14:section>
        <p14:section name="Diagramme" id="{6AB70291-E507-4227-8E8C-811EFEFA6394}">
          <p14:sldIdLst>
            <p14:sldId id="652"/>
            <p14:sldId id="610"/>
            <p14:sldId id="656"/>
            <p14:sldId id="3418"/>
            <p14:sldId id="611"/>
            <p14:sldId id="612"/>
            <p14:sldId id="613"/>
            <p14:sldId id="616"/>
            <p14:sldId id="657"/>
            <p14:sldId id="617"/>
            <p14:sldId id="618"/>
            <p14:sldId id="619"/>
            <p14:sldId id="622"/>
            <p14:sldId id="623"/>
            <p14:sldId id="615"/>
            <p14:sldId id="621"/>
            <p14:sldId id="614"/>
            <p14:sldId id="620"/>
            <p14:sldId id="626"/>
            <p14:sldId id="3417"/>
          </p14:sldIdLst>
        </p14:section>
        <p14:section name="Tabellen" id="{DC8ACDB6-C29C-48DF-967B-88AF59ECF991}">
          <p14:sldIdLst>
            <p14:sldId id="3354"/>
            <p14:sldId id="369"/>
            <p14:sldId id="326"/>
          </p14:sldIdLst>
        </p14:section>
        <p14:section name="Prozesse und Projektpläne" id="{AA07C437-6F64-4EF5-B3FE-7753F08417AD}">
          <p14:sldIdLst>
            <p14:sldId id="653"/>
            <p14:sldId id="576"/>
            <p14:sldId id="658"/>
            <p14:sldId id="647"/>
            <p14:sldId id="589"/>
            <p14:sldId id="643"/>
            <p14:sldId id="592"/>
            <p14:sldId id="590"/>
            <p14:sldId id="599"/>
            <p14:sldId id="600"/>
            <p14:sldId id="583"/>
            <p14:sldId id="568"/>
            <p14:sldId id="578"/>
            <p14:sldId id="663"/>
            <p14:sldId id="3353"/>
            <p14:sldId id="524"/>
            <p14:sldId id="3364"/>
            <p14:sldId id="3365"/>
          </p14:sldIdLst>
        </p14:section>
        <p14:section name="Organigramme" id="{F7A5BB46-ACA2-4559-A33B-66F725C386CA}">
          <p14:sldIdLst>
            <p14:sldId id="659"/>
            <p14:sldId id="601"/>
            <p14:sldId id="662"/>
            <p14:sldId id="602"/>
          </p14:sldIdLst>
        </p14:section>
        <p14:section name="Formen und Textboxen" id="{CA6692D2-83F2-455F-84DD-7B6FDAFADBD1}">
          <p14:sldIdLst>
            <p14:sldId id="654"/>
            <p14:sldId id="546"/>
            <p14:sldId id="661"/>
            <p14:sldId id="635"/>
            <p14:sldId id="660"/>
            <p14:sldId id="534"/>
            <p14:sldId id="645"/>
            <p14:sldId id="562"/>
            <p14:sldId id="565"/>
            <p14:sldId id="646"/>
            <p14:sldId id="644"/>
            <p14:sldId id="637"/>
            <p14:sldId id="553"/>
            <p14:sldId id="638"/>
            <p14:sldId id="639"/>
            <p14:sldId id="555"/>
            <p14:sldId id="640"/>
            <p14:sldId id="3366"/>
            <p14:sldId id="579"/>
            <p14:sldId id="642"/>
            <p14:sldId id="648"/>
            <p14:sldId id="627"/>
            <p14:sldId id="628"/>
            <p14:sldId id="63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5F6B958-936C-8469-9454-7DE7C790D06C}" name="Josefine" initials="J" userId="c8fdedc8cc82ebb5" providerId="Windows Live"/>
  <p188:author id="{7F31B2B0-BD84-4DA9-DBB8-0343367C9C1B}" name="Conrad Lisa" initials="CL" userId="S::l.conrad@netze-bw.de::b3517bd2-a51c-4a32-bf55-86699027be98" providerId="AD"/>
  <p188:author id="{A06024F6-C7AF-E05B-4467-DB961BE5EA6E}" name="Martin Rosenthal" initials="MR" userId="S::martin.rosenthal@mutabor.de::938e567e-97c8-40a6-83ea-ccc34c84518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C041"/>
    <a:srgbClr val="FC6538"/>
    <a:srgbClr val="1195EB"/>
    <a:srgbClr val="FE8F11"/>
    <a:srgbClr val="8FD4FF"/>
    <a:srgbClr val="000099"/>
    <a:srgbClr val="322A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1A2904E-BA56-49AE-93E1-11F73AC0CC05}" v="2" dt="2023-04-21T08:14:09.32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34" autoAdjust="0"/>
    <p:restoredTop sz="96081" autoAdjust="0"/>
  </p:normalViewPr>
  <p:slideViewPr>
    <p:cSldViewPr showGuides="1">
      <p:cViewPr varScale="1">
        <p:scale>
          <a:sx n="108" d="100"/>
          <a:sy n="108" d="100"/>
        </p:scale>
        <p:origin x="570" y="15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86" d="100"/>
          <a:sy n="86" d="100"/>
        </p:scale>
        <p:origin x="3864" y="90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117" Type="http://schemas.openxmlformats.org/officeDocument/2006/relationships/slide" Target="slides/slide113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slide" Target="slides/slide80.xml"/><Relationship Id="rId89" Type="http://schemas.openxmlformats.org/officeDocument/2006/relationships/slide" Target="slides/slide85.xml"/><Relationship Id="rId112" Type="http://schemas.openxmlformats.org/officeDocument/2006/relationships/slide" Target="slides/slide108.xml"/><Relationship Id="rId16" Type="http://schemas.openxmlformats.org/officeDocument/2006/relationships/slide" Target="slides/slide12.xml"/><Relationship Id="rId107" Type="http://schemas.openxmlformats.org/officeDocument/2006/relationships/slide" Target="slides/slide103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102" Type="http://schemas.openxmlformats.org/officeDocument/2006/relationships/slide" Target="slides/slide98.xml"/><Relationship Id="rId123" Type="http://schemas.openxmlformats.org/officeDocument/2006/relationships/handoutMaster" Target="handoutMasters/handoutMaster1.xml"/><Relationship Id="rId128" Type="http://schemas.microsoft.com/office/2016/11/relationships/changesInfo" Target="changesInfos/changesInfo1.xml"/><Relationship Id="rId5" Type="http://schemas.openxmlformats.org/officeDocument/2006/relationships/slide" Target="slides/slide1.xml"/><Relationship Id="rId90" Type="http://schemas.openxmlformats.org/officeDocument/2006/relationships/slide" Target="slides/slide86.xml"/><Relationship Id="rId95" Type="http://schemas.openxmlformats.org/officeDocument/2006/relationships/slide" Target="slides/slide9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slide" Target="slides/slide73.xml"/><Relationship Id="rId100" Type="http://schemas.openxmlformats.org/officeDocument/2006/relationships/slide" Target="slides/slide96.xml"/><Relationship Id="rId105" Type="http://schemas.openxmlformats.org/officeDocument/2006/relationships/slide" Target="slides/slide101.xml"/><Relationship Id="rId113" Type="http://schemas.openxmlformats.org/officeDocument/2006/relationships/slide" Target="slides/slide109.xml"/><Relationship Id="rId118" Type="http://schemas.openxmlformats.org/officeDocument/2006/relationships/slide" Target="slides/slide114.xml"/><Relationship Id="rId12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93" Type="http://schemas.openxmlformats.org/officeDocument/2006/relationships/slide" Target="slides/slide89.xml"/><Relationship Id="rId98" Type="http://schemas.openxmlformats.org/officeDocument/2006/relationships/slide" Target="slides/slide94.xml"/><Relationship Id="rId121" Type="http://schemas.openxmlformats.org/officeDocument/2006/relationships/slide" Target="slides/slide11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103" Type="http://schemas.openxmlformats.org/officeDocument/2006/relationships/slide" Target="slides/slide99.xml"/><Relationship Id="rId108" Type="http://schemas.openxmlformats.org/officeDocument/2006/relationships/slide" Target="slides/slide104.xml"/><Relationship Id="rId116" Type="http://schemas.openxmlformats.org/officeDocument/2006/relationships/slide" Target="slides/slide112.xml"/><Relationship Id="rId124" Type="http://schemas.openxmlformats.org/officeDocument/2006/relationships/presProps" Target="presProps.xml"/><Relationship Id="rId129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91" Type="http://schemas.openxmlformats.org/officeDocument/2006/relationships/slide" Target="slides/slide87.xml"/><Relationship Id="rId96" Type="http://schemas.openxmlformats.org/officeDocument/2006/relationships/slide" Target="slides/slide92.xml"/><Relationship Id="rId111" Type="http://schemas.openxmlformats.org/officeDocument/2006/relationships/slide" Target="slides/slide10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6" Type="http://schemas.openxmlformats.org/officeDocument/2006/relationships/slide" Target="slides/slide102.xml"/><Relationship Id="rId114" Type="http://schemas.openxmlformats.org/officeDocument/2006/relationships/slide" Target="slides/slide110.xml"/><Relationship Id="rId119" Type="http://schemas.openxmlformats.org/officeDocument/2006/relationships/slide" Target="slides/slide115.xml"/><Relationship Id="rId127" Type="http://schemas.openxmlformats.org/officeDocument/2006/relationships/tableStyles" Target="tableStyle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94" Type="http://schemas.openxmlformats.org/officeDocument/2006/relationships/slide" Target="slides/slide90.xml"/><Relationship Id="rId99" Type="http://schemas.openxmlformats.org/officeDocument/2006/relationships/slide" Target="slides/slide95.xml"/><Relationship Id="rId101" Type="http://schemas.openxmlformats.org/officeDocument/2006/relationships/slide" Target="slides/slide97.xml"/><Relationship Id="rId122" Type="http://schemas.openxmlformats.org/officeDocument/2006/relationships/notesMaster" Target="notesMasters/notesMaster1.xml"/><Relationship Id="rId130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109" Type="http://schemas.openxmlformats.org/officeDocument/2006/relationships/slide" Target="slides/slide10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openxmlformats.org/officeDocument/2006/relationships/slide" Target="slides/slide93.xml"/><Relationship Id="rId104" Type="http://schemas.openxmlformats.org/officeDocument/2006/relationships/slide" Target="slides/slide100.xml"/><Relationship Id="rId120" Type="http://schemas.openxmlformats.org/officeDocument/2006/relationships/slide" Target="slides/slide116.xml"/><Relationship Id="rId125" Type="http://schemas.openxmlformats.org/officeDocument/2006/relationships/viewProps" Target="viewProps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slide" Target="slides/slide88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slide" Target="slides/slide83.xml"/><Relationship Id="rId110" Type="http://schemas.openxmlformats.org/officeDocument/2006/relationships/slide" Target="slides/slide106.xml"/><Relationship Id="rId115" Type="http://schemas.openxmlformats.org/officeDocument/2006/relationships/slide" Target="slides/slide111.xml"/><Relationship Id="rId61" Type="http://schemas.openxmlformats.org/officeDocument/2006/relationships/slide" Target="slides/slide57.xml"/><Relationship Id="rId82" Type="http://schemas.openxmlformats.org/officeDocument/2006/relationships/slide" Target="slides/slide7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onrad Lisa" userId="b3517bd2-a51c-4a32-bf55-86699027be98" providerId="ADAL" clId="{29BF5816-21DB-44CF-ABBC-102D56F75F78}"/>
    <pc:docChg chg="custSel modSld">
      <pc:chgData name="Conrad Lisa" userId="b3517bd2-a51c-4a32-bf55-86699027be98" providerId="ADAL" clId="{29BF5816-21DB-44CF-ABBC-102D56F75F78}" dt="2023-04-21T06:27:36.930" v="14" actId="207"/>
      <pc:docMkLst>
        <pc:docMk/>
      </pc:docMkLst>
      <pc:sldChg chg="modSp mod">
        <pc:chgData name="Conrad Lisa" userId="b3517bd2-a51c-4a32-bf55-86699027be98" providerId="ADAL" clId="{29BF5816-21DB-44CF-ABBC-102D56F75F78}" dt="2023-04-21T06:27:09.604" v="10" actId="207"/>
        <pc:sldMkLst>
          <pc:docMk/>
          <pc:sldMk cId="1925974399" sldId="3356"/>
        </pc:sldMkLst>
        <pc:spChg chg="mod">
          <ac:chgData name="Conrad Lisa" userId="b3517bd2-a51c-4a32-bf55-86699027be98" providerId="ADAL" clId="{29BF5816-21DB-44CF-ABBC-102D56F75F78}" dt="2023-04-08T06:08:33.367" v="0" actId="3626"/>
          <ac:spMkLst>
            <pc:docMk/>
            <pc:sldMk cId="1925974399" sldId="3356"/>
            <ac:spMk id="8" creationId="{4639EB6C-0F21-D741-4F5A-59DA5E876063}"/>
          </ac:spMkLst>
        </pc:spChg>
        <pc:picChg chg="mod">
          <ac:chgData name="Conrad Lisa" userId="b3517bd2-a51c-4a32-bf55-86699027be98" providerId="ADAL" clId="{29BF5816-21DB-44CF-ABBC-102D56F75F78}" dt="2023-04-21T06:27:09.604" v="10" actId="207"/>
          <ac:picMkLst>
            <pc:docMk/>
            <pc:sldMk cId="1925974399" sldId="3356"/>
            <ac:picMk id="75" creationId="{5678085B-001B-CCEB-9FE6-05DA6E4CE2B8}"/>
          </ac:picMkLst>
        </pc:picChg>
      </pc:sldChg>
      <pc:sldChg chg="addSp delSp modSp mod">
        <pc:chgData name="Conrad Lisa" userId="b3517bd2-a51c-4a32-bf55-86699027be98" providerId="ADAL" clId="{29BF5816-21DB-44CF-ABBC-102D56F75F78}" dt="2023-04-21T06:27:17.964" v="11" actId="207"/>
        <pc:sldMkLst>
          <pc:docMk/>
          <pc:sldMk cId="2923917843" sldId="3359"/>
        </pc:sldMkLst>
        <pc:spChg chg="add mod">
          <ac:chgData name="Conrad Lisa" userId="b3517bd2-a51c-4a32-bf55-86699027be98" providerId="ADAL" clId="{29BF5816-21DB-44CF-ABBC-102D56F75F78}" dt="2023-04-08T06:09:02.329" v="2"/>
          <ac:spMkLst>
            <pc:docMk/>
            <pc:sldMk cId="2923917843" sldId="3359"/>
            <ac:spMk id="7" creationId="{992B811F-B90C-CA26-67DC-DCCAD772F9C1}"/>
          </ac:spMkLst>
        </pc:spChg>
        <pc:spChg chg="del">
          <ac:chgData name="Conrad Lisa" userId="b3517bd2-a51c-4a32-bf55-86699027be98" providerId="ADAL" clId="{29BF5816-21DB-44CF-ABBC-102D56F75F78}" dt="2023-04-08T06:09:01.999" v="1" actId="478"/>
          <ac:spMkLst>
            <pc:docMk/>
            <pc:sldMk cId="2923917843" sldId="3359"/>
            <ac:spMk id="24" creationId="{F148442D-B6F6-4101-B42C-EC0DED977510}"/>
          </ac:spMkLst>
        </pc:spChg>
        <pc:picChg chg="mod">
          <ac:chgData name="Conrad Lisa" userId="b3517bd2-a51c-4a32-bf55-86699027be98" providerId="ADAL" clId="{29BF5816-21DB-44CF-ABBC-102D56F75F78}" dt="2023-04-21T06:27:17.964" v="11" actId="207"/>
          <ac:picMkLst>
            <pc:docMk/>
            <pc:sldMk cId="2923917843" sldId="3359"/>
            <ac:picMk id="33" creationId="{7E590F90-247D-CA52-813C-0A0867C19DD4}"/>
          </ac:picMkLst>
        </pc:picChg>
      </pc:sldChg>
      <pc:sldChg chg="addSp delSp modSp mod">
        <pc:chgData name="Conrad Lisa" userId="b3517bd2-a51c-4a32-bf55-86699027be98" providerId="ADAL" clId="{29BF5816-21DB-44CF-ABBC-102D56F75F78}" dt="2023-04-21T06:27:36.930" v="14" actId="207"/>
        <pc:sldMkLst>
          <pc:docMk/>
          <pc:sldMk cId="2442353363" sldId="3360"/>
        </pc:sldMkLst>
        <pc:spChg chg="add mod">
          <ac:chgData name="Conrad Lisa" userId="b3517bd2-a51c-4a32-bf55-86699027be98" providerId="ADAL" clId="{29BF5816-21DB-44CF-ABBC-102D56F75F78}" dt="2023-04-08T06:09:14.917" v="8"/>
          <ac:spMkLst>
            <pc:docMk/>
            <pc:sldMk cId="2442353363" sldId="3360"/>
            <ac:spMk id="5" creationId="{02E80A86-AF50-7659-C78F-E245AC4B5D2F}"/>
          </ac:spMkLst>
        </pc:spChg>
        <pc:spChg chg="del">
          <ac:chgData name="Conrad Lisa" userId="b3517bd2-a51c-4a32-bf55-86699027be98" providerId="ADAL" clId="{29BF5816-21DB-44CF-ABBC-102D56F75F78}" dt="2023-04-08T06:09:14.712" v="7" actId="478"/>
          <ac:spMkLst>
            <pc:docMk/>
            <pc:sldMk cId="2442353363" sldId="3360"/>
            <ac:spMk id="8" creationId="{E78236F2-27BB-88AD-12DB-C2DB0D5CC82C}"/>
          </ac:spMkLst>
        </pc:spChg>
        <pc:picChg chg="mod">
          <ac:chgData name="Conrad Lisa" userId="b3517bd2-a51c-4a32-bf55-86699027be98" providerId="ADAL" clId="{29BF5816-21DB-44CF-ABBC-102D56F75F78}" dt="2023-04-21T06:27:36.930" v="14" actId="207"/>
          <ac:picMkLst>
            <pc:docMk/>
            <pc:sldMk cId="2442353363" sldId="3360"/>
            <ac:picMk id="6" creationId="{AA55A81F-FD43-0893-E04C-5B3F6C6B0486}"/>
          </ac:picMkLst>
        </pc:picChg>
      </pc:sldChg>
      <pc:sldChg chg="addSp delSp modSp mod">
        <pc:chgData name="Conrad Lisa" userId="b3517bd2-a51c-4a32-bf55-86699027be98" providerId="ADAL" clId="{29BF5816-21DB-44CF-ABBC-102D56F75F78}" dt="2023-04-21T06:27:25.942" v="12" actId="207"/>
        <pc:sldMkLst>
          <pc:docMk/>
          <pc:sldMk cId="2238834088" sldId="3375"/>
        </pc:sldMkLst>
        <pc:spChg chg="add mod">
          <ac:chgData name="Conrad Lisa" userId="b3517bd2-a51c-4a32-bf55-86699027be98" providerId="ADAL" clId="{29BF5816-21DB-44CF-ABBC-102D56F75F78}" dt="2023-04-08T06:09:07.134" v="4"/>
          <ac:spMkLst>
            <pc:docMk/>
            <pc:sldMk cId="2238834088" sldId="3375"/>
            <ac:spMk id="6" creationId="{4BB52201-6689-AC1E-2555-2F8362D75ED6}"/>
          </ac:spMkLst>
        </pc:spChg>
        <pc:spChg chg="del">
          <ac:chgData name="Conrad Lisa" userId="b3517bd2-a51c-4a32-bf55-86699027be98" providerId="ADAL" clId="{29BF5816-21DB-44CF-ABBC-102D56F75F78}" dt="2023-04-08T06:09:06.850" v="3" actId="478"/>
          <ac:spMkLst>
            <pc:docMk/>
            <pc:sldMk cId="2238834088" sldId="3375"/>
            <ac:spMk id="13" creationId="{E95204EF-671E-D275-C49A-8B19DAA2652C}"/>
          </ac:spMkLst>
        </pc:spChg>
        <pc:picChg chg="mod">
          <ac:chgData name="Conrad Lisa" userId="b3517bd2-a51c-4a32-bf55-86699027be98" providerId="ADAL" clId="{29BF5816-21DB-44CF-ABBC-102D56F75F78}" dt="2023-04-21T06:27:25.942" v="12" actId="207"/>
          <ac:picMkLst>
            <pc:docMk/>
            <pc:sldMk cId="2238834088" sldId="3375"/>
            <ac:picMk id="17" creationId="{05762C0D-A1A9-EFEE-6F49-8F7138DC7618}"/>
          </ac:picMkLst>
        </pc:picChg>
      </pc:sldChg>
      <pc:sldChg chg="addSp delSp modSp mod">
        <pc:chgData name="Conrad Lisa" userId="b3517bd2-a51c-4a32-bf55-86699027be98" providerId="ADAL" clId="{29BF5816-21DB-44CF-ABBC-102D56F75F78}" dt="2023-04-21T06:27:30.966" v="13" actId="207"/>
        <pc:sldMkLst>
          <pc:docMk/>
          <pc:sldMk cId="433657686" sldId="3376"/>
        </pc:sldMkLst>
        <pc:spChg chg="del">
          <ac:chgData name="Conrad Lisa" userId="b3517bd2-a51c-4a32-bf55-86699027be98" providerId="ADAL" clId="{29BF5816-21DB-44CF-ABBC-102D56F75F78}" dt="2023-04-08T06:09:10.629" v="5" actId="478"/>
          <ac:spMkLst>
            <pc:docMk/>
            <pc:sldMk cId="433657686" sldId="3376"/>
            <ac:spMk id="21" creationId="{FD5AF403-52EA-35C3-5DC4-3DAFC203BFAE}"/>
          </ac:spMkLst>
        </pc:spChg>
        <pc:spChg chg="add mod">
          <ac:chgData name="Conrad Lisa" userId="b3517bd2-a51c-4a32-bf55-86699027be98" providerId="ADAL" clId="{29BF5816-21DB-44CF-ABBC-102D56F75F78}" dt="2023-04-08T06:09:11.034" v="6"/>
          <ac:spMkLst>
            <pc:docMk/>
            <pc:sldMk cId="433657686" sldId="3376"/>
            <ac:spMk id="22" creationId="{29EDA4E5-74C7-B708-4F55-045CCD2F4BE4}"/>
          </ac:spMkLst>
        </pc:spChg>
        <pc:picChg chg="mod">
          <ac:chgData name="Conrad Lisa" userId="b3517bd2-a51c-4a32-bf55-86699027be98" providerId="ADAL" clId="{29BF5816-21DB-44CF-ABBC-102D56F75F78}" dt="2023-04-21T06:27:30.966" v="13" actId="207"/>
          <ac:picMkLst>
            <pc:docMk/>
            <pc:sldMk cId="433657686" sldId="3376"/>
            <ac:picMk id="26" creationId="{81FA4AEA-BD99-2EBE-E296-9B9A921DC6B4}"/>
          </ac:picMkLst>
        </pc:picChg>
      </pc:sldChg>
    </pc:docChg>
  </pc:docChgLst>
  <pc:docChgLst>
    <pc:chgData name="Conrad Lisa" userId="b3517bd2-a51c-4a32-bf55-86699027be98" providerId="ADAL" clId="{E1A2904E-BA56-49AE-93E1-11F73AC0CC05}"/>
    <pc:docChg chg="custSel modSld modNotesMaster">
      <pc:chgData name="Conrad Lisa" userId="b3517bd2-a51c-4a32-bf55-86699027be98" providerId="ADAL" clId="{E1A2904E-BA56-49AE-93E1-11F73AC0CC05}" dt="2023-04-21T08:18:36.668" v="1" actId="207"/>
      <pc:docMkLst>
        <pc:docMk/>
      </pc:docMkLst>
      <pc:sldChg chg="modSp mod">
        <pc:chgData name="Conrad Lisa" userId="b3517bd2-a51c-4a32-bf55-86699027be98" providerId="ADAL" clId="{E1A2904E-BA56-49AE-93E1-11F73AC0CC05}" dt="2023-04-21T08:18:36.668" v="1" actId="207"/>
        <pc:sldMkLst>
          <pc:docMk/>
          <pc:sldMk cId="1925974399" sldId="3356"/>
        </pc:sldMkLst>
        <pc:picChg chg="mod">
          <ac:chgData name="Conrad Lisa" userId="b3517bd2-a51c-4a32-bf55-86699027be98" providerId="ADAL" clId="{E1A2904E-BA56-49AE-93E1-11F73AC0CC05}" dt="2023-04-21T08:18:36.668" v="1" actId="207"/>
          <ac:picMkLst>
            <pc:docMk/>
            <pc:sldMk cId="1925974399" sldId="3356"/>
            <ac:picMk id="75" creationId="{5678085B-001B-CCEB-9FE6-05DA6E4CE2B8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06022642811165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.5</c:v>
                </c:pt>
                <c:pt idx="1">
                  <c:v>3.5</c:v>
                </c:pt>
                <c:pt idx="2">
                  <c:v>4.5</c:v>
                </c:pt>
                <c:pt idx="3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E1-4D6B-8197-41B1EFA6BC1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FE8F1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4.4000000000000004</c:v>
                </c:pt>
                <c:pt idx="1">
                  <c:v>1.8</c:v>
                </c:pt>
                <c:pt idx="2">
                  <c:v>2.8</c:v>
                </c:pt>
                <c:pt idx="3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3E1-4D6B-8197-41B1EFA6BC16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1195EB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3</c:v>
                </c:pt>
                <c:pt idx="2">
                  <c:v>5</c:v>
                </c:pt>
                <c:pt idx="3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3E1-4D6B-8197-41B1EFA6BC1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91476717059101753"/>
          <c:w val="0.33027866326583"/>
          <c:h val="8.5232829408982441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6828567374933919E-2"/>
          <c:y val="3.2488691487988025E-2"/>
          <c:w val="0.91627313439684477"/>
          <c:h val="0.7188892903475587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AC6-4848-8172-75B84A3940C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0">
                  <c:v>19</c:v>
                </c:pt>
                <c:pt idx="1">
                  <c:v>14.3</c:v>
                </c:pt>
                <c:pt idx="2">
                  <c:v>28.9</c:v>
                </c:pt>
                <c:pt idx="3">
                  <c:v>91.6</c:v>
                </c:pt>
                <c:pt idx="4">
                  <c:v>42.6</c:v>
                </c:pt>
                <c:pt idx="5">
                  <c:v>5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C6-4848-8172-75B84A3940C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96091304"/>
        <c:axId val="296091696"/>
      </c:barChart>
      <c:lineChart>
        <c:grouping val="standard"/>
        <c:varyColors val="0"/>
        <c:ser>
          <c:idx val="1"/>
          <c:order val="1"/>
          <c:tx>
            <c:strRef>
              <c:f>Tabelle1!$A$3</c:f>
              <c:strCache>
                <c:ptCount val="1"/>
                <c:pt idx="0">
                  <c:v>Datenreihe 2</c:v>
                </c:pt>
              </c:strCache>
            </c:strRef>
          </c:tx>
          <c:spPr>
            <a:ln w="25400">
              <a:solidFill>
                <a:srgbClr val="FF9900"/>
              </a:solidFill>
            </a:ln>
          </c:spPr>
          <c:marker>
            <c:symbol val="none"/>
          </c:marker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AC6-4848-8172-75B84A3940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32.6</c:v>
                </c:pt>
                <c:pt idx="1">
                  <c:v>28.5</c:v>
                </c:pt>
                <c:pt idx="2">
                  <c:v>40.200000000000003</c:v>
                </c:pt>
                <c:pt idx="3">
                  <c:v>44.3</c:v>
                </c:pt>
                <c:pt idx="4">
                  <c:v>47.9</c:v>
                </c:pt>
                <c:pt idx="5">
                  <c:v>64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AC6-4848-8172-75B84A3940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6092480"/>
        <c:axId val="296092088"/>
      </c:lineChart>
      <c:catAx>
        <c:axId val="296091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/>
            </a:pPr>
            <a:endParaRPr lang="de-DE"/>
          </a:p>
        </c:txPr>
        <c:crossAx val="296091696"/>
        <c:crosses val="autoZero"/>
        <c:auto val="1"/>
        <c:lblAlgn val="ctr"/>
        <c:lblOffset val="100"/>
        <c:noMultiLvlLbl val="0"/>
      </c:catAx>
      <c:valAx>
        <c:axId val="296091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de-DE"/>
          </a:p>
        </c:txPr>
        <c:crossAx val="296091304"/>
        <c:crosses val="autoZero"/>
        <c:crossBetween val="between"/>
      </c:valAx>
      <c:valAx>
        <c:axId val="29609208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de-DE"/>
          </a:p>
        </c:txPr>
        <c:crossAx val="296092480"/>
        <c:crosses val="max"/>
        <c:crossBetween val="between"/>
      </c:valAx>
      <c:catAx>
        <c:axId val="296092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96092088"/>
        <c:crosses val="autoZero"/>
        <c:auto val="1"/>
        <c:lblAlgn val="ctr"/>
        <c:lblOffset val="100"/>
        <c:noMultiLvlLbl val="0"/>
      </c:catAx>
      <c:spPr>
        <a:ln>
          <a:noFill/>
        </a:ln>
      </c:spPr>
    </c:plotArea>
    <c:legend>
      <c:legendPos val="b"/>
      <c:layout>
        <c:manualLayout>
          <c:xMode val="edge"/>
          <c:yMode val="edge"/>
          <c:x val="0.30951527838443477"/>
          <c:y val="0.93270342818206864"/>
          <c:w val="0.38096930837683846"/>
          <c:h val="6.7296571817931347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7385476547026713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4F5-4B34-9D8F-5A9A1FA30240}"/>
              </c:ext>
            </c:extLst>
          </c:dPt>
          <c:dLbls>
            <c:delete val="1"/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1">
                  <c:v>25</c:v>
                </c:pt>
                <c:pt idx="2">
                  <c:v>35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5-4B34-9D8F-5A9A1FA30240}"/>
            </c:ext>
          </c:extLst>
        </c:ser>
        <c:ser>
          <c:idx val="1"/>
          <c:order val="1"/>
          <c:spPr>
            <a:solidFill>
              <a:srgbClr val="000099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3-E4F5-4B34-9D8F-5A9A1FA30240}"/>
              </c:ext>
            </c:extLst>
          </c:dPt>
          <c:dLbls>
            <c:dLbl>
              <c:idx val="5"/>
              <c:spPr/>
              <c:txPr>
                <a:bodyPr/>
                <a:lstStyle/>
                <a:p>
                  <a:pPr>
                    <a:defRPr sz="16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4F5-4B34-9D8F-5A9A1FA302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25</c:v>
                </c:pt>
                <c:pt idx="3">
                  <c:v>55</c:v>
                </c:pt>
                <c:pt idx="5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F5-4B34-9D8F-5A9A1FA30240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4:$G$4</c:f>
              <c:numCache>
                <c:formatCode>General</c:formatCode>
                <c:ptCount val="6"/>
                <c:pt idx="1">
                  <c:v>1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F5-4B34-9D8F-5A9A1FA30240}"/>
            </c:ext>
          </c:extLst>
        </c:ser>
        <c:ser>
          <c:idx val="3"/>
          <c:order val="3"/>
          <c:spPr>
            <a:solidFill>
              <a:sysClr val="windowText" lastClr="000000">
                <a:lumMod val="50000"/>
                <a:lumOff val="50000"/>
              </a:sys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E4F5-4B34-9D8F-5A9A1FA3024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5:$G$5</c:f>
              <c:numCache>
                <c:formatCode>General</c:formatCode>
                <c:ptCount val="6"/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4F5-4B34-9D8F-5A9A1FA3024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50"/>
        <c:overlap val="100"/>
        <c:axId val="270087368"/>
        <c:axId val="270087760"/>
      </c:barChart>
      <c:catAx>
        <c:axId val="270087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7760"/>
        <c:crosses val="autoZero"/>
        <c:auto val="1"/>
        <c:lblAlgn val="ctr"/>
        <c:lblOffset val="100"/>
        <c:noMultiLvlLbl val="0"/>
      </c:catAx>
      <c:valAx>
        <c:axId val="2700877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7368"/>
        <c:crosses val="autoZero"/>
        <c:crossBetween val="between"/>
      </c:valAx>
      <c:spPr>
        <a:ln>
          <a:noFill/>
        </a:ln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"/>
          <c:y val="0.88632433215786666"/>
          <c:w val="1"/>
          <c:h val="7.0730882566059611E-2"/>
        </c:manualLayout>
      </c:layout>
      <c:overlay val="0"/>
      <c:txPr>
        <a:bodyPr/>
        <a:lstStyle/>
        <a:p>
          <a:pPr>
            <a:defRPr sz="1200">
              <a:solidFill>
                <a:schemeClr val="tx1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7074046288118455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4F5-4B34-9D8F-5A9A1FA30240}"/>
              </c:ext>
            </c:extLst>
          </c:dPt>
          <c:dLbls>
            <c:delete val="1"/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1">
                  <c:v>25</c:v>
                </c:pt>
                <c:pt idx="2">
                  <c:v>35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5-4B34-9D8F-5A9A1FA30240}"/>
            </c:ext>
          </c:extLst>
        </c:ser>
        <c:ser>
          <c:idx val="1"/>
          <c:order val="1"/>
          <c:spPr>
            <a:solidFill>
              <a:srgbClr val="000099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3-E4F5-4B34-9D8F-5A9A1FA30240}"/>
              </c:ext>
            </c:extLst>
          </c:dPt>
          <c:dLbls>
            <c:dLbl>
              <c:idx val="5"/>
              <c:spPr/>
              <c:txPr>
                <a:bodyPr/>
                <a:lstStyle/>
                <a:p>
                  <a:pPr>
                    <a:defRPr sz="16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4F5-4B34-9D8F-5A9A1FA302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25</c:v>
                </c:pt>
                <c:pt idx="3">
                  <c:v>55</c:v>
                </c:pt>
                <c:pt idx="5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F5-4B34-9D8F-5A9A1FA30240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4:$G$4</c:f>
              <c:numCache>
                <c:formatCode>General</c:formatCode>
                <c:ptCount val="6"/>
                <c:pt idx="1">
                  <c:v>1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F5-4B34-9D8F-5A9A1FA30240}"/>
            </c:ext>
          </c:extLst>
        </c:ser>
        <c:ser>
          <c:idx val="3"/>
          <c:order val="3"/>
          <c:spPr>
            <a:solidFill>
              <a:sysClr val="windowText" lastClr="000000">
                <a:lumMod val="50000"/>
                <a:lumOff val="50000"/>
              </a:sys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E4F5-4B34-9D8F-5A9A1FA3024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5:$G$5</c:f>
              <c:numCache>
                <c:formatCode>General</c:formatCode>
                <c:ptCount val="6"/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4F5-4B34-9D8F-5A9A1FA3024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50"/>
        <c:overlap val="100"/>
        <c:axId val="270087368"/>
        <c:axId val="270087760"/>
      </c:barChart>
      <c:catAx>
        <c:axId val="270087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7760"/>
        <c:crosses val="autoZero"/>
        <c:auto val="1"/>
        <c:lblAlgn val="ctr"/>
        <c:lblOffset val="100"/>
        <c:noMultiLvlLbl val="0"/>
      </c:catAx>
      <c:valAx>
        <c:axId val="2700877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7368"/>
        <c:crosses val="autoZero"/>
        <c:crossBetween val="between"/>
      </c:valAx>
      <c:spPr>
        <a:ln>
          <a:noFill/>
        </a:ln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"/>
          <c:y val="0.8454831320960956"/>
          <c:w val="1"/>
          <c:h val="7.0730882566059611E-2"/>
        </c:manualLayout>
      </c:layout>
      <c:overlay val="0"/>
      <c:txPr>
        <a:bodyPr/>
        <a:lstStyle/>
        <a:p>
          <a:pPr>
            <a:defRPr sz="1200">
              <a:solidFill>
                <a:schemeClr val="tx1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7385476547026713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4F5-4B34-9D8F-5A9A1FA30240}"/>
              </c:ext>
            </c:extLst>
          </c:dPt>
          <c:dLbls>
            <c:delete val="1"/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1">
                  <c:v>25</c:v>
                </c:pt>
                <c:pt idx="2">
                  <c:v>35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5-4B34-9D8F-5A9A1FA30240}"/>
            </c:ext>
          </c:extLst>
        </c:ser>
        <c:ser>
          <c:idx val="1"/>
          <c:order val="1"/>
          <c:spPr>
            <a:solidFill>
              <a:srgbClr val="000099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3-E4F5-4B34-9D8F-5A9A1FA30240}"/>
              </c:ext>
            </c:extLst>
          </c:dPt>
          <c:dLbls>
            <c:dLbl>
              <c:idx val="5"/>
              <c:spPr/>
              <c:txPr>
                <a:bodyPr/>
                <a:lstStyle/>
                <a:p>
                  <a:pPr>
                    <a:defRPr sz="16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4F5-4B34-9D8F-5A9A1FA302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25</c:v>
                </c:pt>
                <c:pt idx="3">
                  <c:v>55</c:v>
                </c:pt>
                <c:pt idx="5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F5-4B34-9D8F-5A9A1FA30240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4:$G$4</c:f>
              <c:numCache>
                <c:formatCode>General</c:formatCode>
                <c:ptCount val="6"/>
                <c:pt idx="1">
                  <c:v>1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F5-4B34-9D8F-5A9A1FA30240}"/>
            </c:ext>
          </c:extLst>
        </c:ser>
        <c:ser>
          <c:idx val="3"/>
          <c:order val="3"/>
          <c:spPr>
            <a:solidFill>
              <a:sysClr val="window" lastClr="FFFFFF">
                <a:lumMod val="50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5:$G$5</c:f>
              <c:numCache>
                <c:formatCode>General</c:formatCode>
                <c:ptCount val="6"/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4F5-4B34-9D8F-5A9A1FA3024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40"/>
        <c:overlap val="100"/>
        <c:axId val="270087368"/>
        <c:axId val="270087760"/>
      </c:barChart>
      <c:catAx>
        <c:axId val="270087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>
                <a:solidFill>
                  <a:schemeClr val="tx1"/>
                </a:solidFill>
              </a:defRPr>
            </a:pPr>
            <a:endParaRPr lang="de-DE"/>
          </a:p>
        </c:txPr>
        <c:crossAx val="270087760"/>
        <c:crosses val="autoZero"/>
        <c:auto val="1"/>
        <c:lblAlgn val="ctr"/>
        <c:lblOffset val="100"/>
        <c:noMultiLvlLbl val="0"/>
      </c:catAx>
      <c:valAx>
        <c:axId val="2700877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7368"/>
        <c:crosses val="autoZero"/>
        <c:crossBetween val="between"/>
      </c:valAx>
      <c:spPr>
        <a:ln>
          <a:noFill/>
        </a:ln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"/>
          <c:y val="0.92926911743394036"/>
          <c:w val="1"/>
          <c:h val="5.232597459059949E-2"/>
        </c:manualLayout>
      </c:layout>
      <c:overlay val="0"/>
      <c:txPr>
        <a:bodyPr/>
        <a:lstStyle/>
        <a:p>
          <a:pPr>
            <a:defRPr sz="1200">
              <a:solidFill>
                <a:schemeClr val="tx1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6437778415133058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02A-47BB-BCA7-10E70C888019}"/>
              </c:ext>
            </c:extLst>
          </c:dPt>
          <c:dLbls>
            <c:delete val="1"/>
          </c:dLbls>
          <c:cat>
            <c:strRef>
              <c:f>Tabelle1!$B$1:$H$1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2:$H$2</c:f>
              <c:numCache>
                <c:formatCode>General</c:formatCode>
                <c:ptCount val="7"/>
                <c:pt idx="1">
                  <c:v>90</c:v>
                </c:pt>
                <c:pt idx="2">
                  <c:v>70</c:v>
                </c:pt>
                <c:pt idx="3">
                  <c:v>60</c:v>
                </c:pt>
                <c:pt idx="4">
                  <c:v>40</c:v>
                </c:pt>
                <c:pt idx="5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2A-47BB-BCA7-10E70C888019}"/>
            </c:ext>
          </c:extLst>
        </c:ser>
        <c:ser>
          <c:idx val="1"/>
          <c:order val="1"/>
          <c:spPr>
            <a:solidFill>
              <a:srgbClr val="686868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5-502A-47BB-BCA7-10E70C88801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3:$H$3</c:f>
              <c:numCache>
                <c:formatCode>General</c:formatCode>
                <c:ptCount val="7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2A-47BB-BCA7-10E70C888019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4:$H$4</c:f>
              <c:numCache>
                <c:formatCode>General</c:formatCode>
                <c:ptCount val="7"/>
                <c:pt idx="1">
                  <c:v>10</c:v>
                </c:pt>
                <c:pt idx="2">
                  <c:v>20</c:v>
                </c:pt>
                <c:pt idx="3">
                  <c:v>10</c:v>
                </c:pt>
                <c:pt idx="4">
                  <c:v>2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02A-47BB-BCA7-10E70C888019}"/>
            </c:ext>
          </c:extLst>
        </c:ser>
        <c:ser>
          <c:idx val="3"/>
          <c:order val="3"/>
          <c:spPr>
            <a:solidFill>
              <a:srgbClr val="FF99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5:$H$5</c:f>
              <c:numCache>
                <c:formatCode>General</c:formatCode>
                <c:ptCount val="7"/>
                <c:pt idx="6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02A-47BB-BCA7-10E70C88801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70088544"/>
        <c:axId val="270088936"/>
      </c:barChart>
      <c:catAx>
        <c:axId val="270088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8936"/>
        <c:crosses val="autoZero"/>
        <c:auto val="1"/>
        <c:lblAlgn val="ctr"/>
        <c:lblOffset val="100"/>
        <c:noMultiLvlLbl val="0"/>
      </c:catAx>
      <c:valAx>
        <c:axId val="2700889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8544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6982868664304188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02A-47BB-BCA7-10E70C888019}"/>
              </c:ext>
            </c:extLst>
          </c:dPt>
          <c:dLbls>
            <c:delete val="1"/>
          </c:dLbls>
          <c:cat>
            <c:strRef>
              <c:f>Tabelle1!$B$1:$H$1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strCache>
            </c:strRef>
          </c:cat>
          <c:val>
            <c:numRef>
              <c:f>Tabelle1!$B$2:$H$2</c:f>
              <c:numCache>
                <c:formatCode>General</c:formatCode>
                <c:ptCount val="7"/>
                <c:pt idx="1">
                  <c:v>90</c:v>
                </c:pt>
                <c:pt idx="2">
                  <c:v>70</c:v>
                </c:pt>
                <c:pt idx="3">
                  <c:v>60</c:v>
                </c:pt>
                <c:pt idx="4">
                  <c:v>40</c:v>
                </c:pt>
                <c:pt idx="5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2A-47BB-BCA7-10E70C888019}"/>
            </c:ext>
          </c:extLst>
        </c:ser>
        <c:ser>
          <c:idx val="1"/>
          <c:order val="1"/>
          <c:spPr>
            <a:solidFill>
              <a:srgbClr val="686868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5-502A-47BB-BCA7-10E70C88801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strCache>
            </c:strRef>
          </c:cat>
          <c:val>
            <c:numRef>
              <c:f>Tabelle1!$B$3:$H$3</c:f>
              <c:numCache>
                <c:formatCode>General</c:formatCode>
                <c:ptCount val="7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2A-47BB-BCA7-10E70C888019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strCache>
            </c:strRef>
          </c:cat>
          <c:val>
            <c:numRef>
              <c:f>Tabelle1!$B$4:$H$4</c:f>
              <c:numCache>
                <c:formatCode>General</c:formatCode>
                <c:ptCount val="7"/>
                <c:pt idx="1">
                  <c:v>10</c:v>
                </c:pt>
                <c:pt idx="2">
                  <c:v>20</c:v>
                </c:pt>
                <c:pt idx="3">
                  <c:v>10</c:v>
                </c:pt>
                <c:pt idx="4">
                  <c:v>2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02A-47BB-BCA7-10E70C888019}"/>
            </c:ext>
          </c:extLst>
        </c:ser>
        <c:ser>
          <c:idx val="3"/>
          <c:order val="3"/>
          <c:spPr>
            <a:solidFill>
              <a:srgbClr val="FF99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strCache>
            </c:strRef>
          </c:cat>
          <c:val>
            <c:numRef>
              <c:f>Tabelle1!$B$5:$H$5</c:f>
              <c:numCache>
                <c:formatCode>General</c:formatCode>
                <c:ptCount val="7"/>
                <c:pt idx="6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02A-47BB-BCA7-10E70C88801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270088544"/>
        <c:axId val="270088936"/>
      </c:barChart>
      <c:catAx>
        <c:axId val="270088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8936"/>
        <c:crosses val="autoZero"/>
        <c:auto val="1"/>
        <c:lblAlgn val="ctr"/>
        <c:lblOffset val="100"/>
        <c:noMultiLvlLbl val="0"/>
      </c:catAx>
      <c:valAx>
        <c:axId val="2700889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8544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9.4257256444385762E-2"/>
          <c:y val="0"/>
          <c:w val="0.90574274355561424"/>
          <c:h val="0.890932212889680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1-D58F-4190-B311-E3680196651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1</c:v>
                </c:pt>
                <c:pt idx="1">
                  <c:v>15</c:v>
                </c:pt>
                <c:pt idx="2">
                  <c:v>14</c:v>
                </c:pt>
                <c:pt idx="3">
                  <c:v>21</c:v>
                </c:pt>
                <c:pt idx="4">
                  <c:v>32</c:v>
                </c:pt>
                <c:pt idx="5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8F-4190-B311-E3680196651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ategorie 2</c:v>
                </c:pt>
              </c:strCache>
            </c:strRef>
          </c:tx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</c:strCache>
            </c:str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9</c:v>
                </c:pt>
                <c:pt idx="1">
                  <c:v>16</c:v>
                </c:pt>
                <c:pt idx="2">
                  <c:v>25</c:v>
                </c:pt>
                <c:pt idx="3">
                  <c:v>14</c:v>
                </c:pt>
                <c:pt idx="4">
                  <c:v>27</c:v>
                </c:pt>
                <c:pt idx="5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8F-4190-B311-E3680196651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70089720"/>
        <c:axId val="270090112"/>
      </c:barChart>
      <c:catAx>
        <c:axId val="270089720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90112"/>
        <c:crosses val="autoZero"/>
        <c:auto val="1"/>
        <c:lblAlgn val="ctr"/>
        <c:lblOffset val="100"/>
        <c:noMultiLvlLbl val="0"/>
      </c:catAx>
      <c:valAx>
        <c:axId val="2700901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70089720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0.39961977935001203"/>
          <c:y val="0.93170188335119164"/>
          <c:w val="0.20076044129997594"/>
          <c:h val="6.8298116648808374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4562707021531252"/>
          <c:y val="0"/>
          <c:w val="0.85437292978468748"/>
          <c:h val="0.890932212889680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1-D58F-4190-B311-E3680196651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1</c:v>
                </c:pt>
                <c:pt idx="1">
                  <c:v>15</c:v>
                </c:pt>
                <c:pt idx="2">
                  <c:v>14</c:v>
                </c:pt>
                <c:pt idx="3">
                  <c:v>21</c:v>
                </c:pt>
                <c:pt idx="4">
                  <c:v>32</c:v>
                </c:pt>
                <c:pt idx="5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8F-4190-B311-E3680196651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ategorie 2</c:v>
                </c:pt>
              </c:strCache>
            </c:strRef>
          </c:tx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</c:strCache>
            </c:str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9</c:v>
                </c:pt>
                <c:pt idx="1">
                  <c:v>16</c:v>
                </c:pt>
                <c:pt idx="2">
                  <c:v>25</c:v>
                </c:pt>
                <c:pt idx="3">
                  <c:v>14</c:v>
                </c:pt>
                <c:pt idx="4">
                  <c:v>27</c:v>
                </c:pt>
                <c:pt idx="5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8F-4190-B311-E3680196651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70089720"/>
        <c:axId val="270090112"/>
      </c:barChart>
      <c:catAx>
        <c:axId val="270089720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90112"/>
        <c:crosses val="autoZero"/>
        <c:auto val="1"/>
        <c:lblAlgn val="ctr"/>
        <c:lblOffset val="100"/>
        <c:noMultiLvlLbl val="0"/>
      </c:catAx>
      <c:valAx>
        <c:axId val="2700901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70089720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0.34603490103078127"/>
          <c:y val="0.93170188335119164"/>
          <c:w val="0.30793006310941873"/>
          <c:h val="6.8298116648808374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735770744402064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38100">
              <a:solidFill>
                <a:srgbClr val="000099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.2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33-4C1A-8B4E-CDBA367A676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38100">
              <a:solidFill>
                <a:srgbClr val="FF8F0F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4.5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33-4C1A-8B4E-CDBA367A676E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38100">
              <a:solidFill>
                <a:srgbClr val="E5DFDA"/>
              </a:solidFill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2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33-4C1A-8B4E-CDBA367A676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96088952"/>
        <c:axId val="296089344"/>
      </c:line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93170381456448037"/>
          <c:w val="0.37083211146530631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735770744402064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38100">
              <a:solidFill>
                <a:srgbClr val="000099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.2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33-4C1A-8B4E-CDBA367A676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38100">
              <a:solidFill>
                <a:srgbClr val="FF8F0F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4.5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33-4C1A-8B4E-CDBA367A676E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38100">
              <a:solidFill>
                <a:srgbClr val="E5DFDA"/>
              </a:solidFill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2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33-4C1A-8B4E-CDBA367A676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96088952"/>
        <c:axId val="296089344"/>
      </c:line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93170381456448037"/>
          <c:w val="0.37083211146530631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7.1029428173304723E-2"/>
          <c:w val="0.99846872138640808"/>
          <c:h val="0.714102813664766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Kategorie 1</c:v>
                </c:pt>
              </c:strCache>
            </c:strRef>
          </c:tx>
          <c:spPr>
            <a:solidFill>
              <a:srgbClr val="FF990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E5DFDA"/>
              </a:solidFill>
            </c:spPr>
            <c:extLst>
              <c:ext xmlns:c16="http://schemas.microsoft.com/office/drawing/2014/chart" uri="{C3380CC4-5D6E-409C-BE32-E72D297353CC}">
                <c16:uniqueId val="{00000001-8A83-4C25-9860-353174E69694}"/>
              </c:ext>
            </c:extLst>
          </c:dPt>
          <c:dPt>
            <c:idx val="1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5-8A83-4C25-9860-353174E6969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A83-4C25-9860-353174E6969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2:$C$2</c:f>
              <c:numCache>
                <c:formatCode>General</c:formatCode>
                <c:ptCount val="2"/>
                <c:pt idx="0">
                  <c:v>239</c:v>
                </c:pt>
                <c:pt idx="1">
                  <c:v>2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A83-4C25-9860-353174E6969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296086600"/>
        <c:axId val="296086992"/>
      </c:barChart>
      <c:catAx>
        <c:axId val="296086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200" b="1">
                <a:solidFill>
                  <a:schemeClr val="tx1"/>
                </a:solidFill>
              </a:defRPr>
            </a:pPr>
            <a:endParaRPr lang="de-DE"/>
          </a:p>
        </c:txPr>
        <c:crossAx val="296086992"/>
        <c:crosses val="autoZero"/>
        <c:auto val="1"/>
        <c:lblAlgn val="ctr"/>
        <c:lblOffset val="100"/>
        <c:noMultiLvlLbl val="0"/>
      </c:catAx>
      <c:valAx>
        <c:axId val="296086992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6086600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413898630866467"/>
          <c:y val="0"/>
          <c:w val="0.844197627168079"/>
          <c:h val="0.76946549849675949"/>
        </c:manualLayout>
      </c:layout>
      <c:scatterChart>
        <c:scatterStyle val="lineMarker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1</c:v>
                </c:pt>
              </c:strCache>
            </c:strRef>
          </c:tx>
          <c:spPr>
            <a:ln w="38100">
              <a:solidFill>
                <a:srgbClr val="000099"/>
              </a:solidFill>
            </a:ln>
          </c:spPr>
          <c:marker>
            <c:symbol val="none"/>
          </c:marker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0-435B-4922-BBB8-1E715AD0F4D4}"/>
              </c:ext>
            </c:extLst>
          </c:dPt>
          <c:dLbls>
            <c:dLbl>
              <c:idx val="0"/>
              <c:layout>
                <c:manualLayout>
                  <c:x val="0"/>
                  <c:y val="1.3062712333360418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B$2:$B$24</c:f>
              <c:numCache>
                <c:formatCode>General</c:formatCode>
                <c:ptCount val="23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35B-4922-BBB8-1E715AD0F4D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ategorie 2</c:v>
                </c:pt>
              </c:strCache>
            </c:strRef>
          </c:tx>
          <c:spPr>
            <a:ln w="38100">
              <a:solidFill>
                <a:srgbClr val="FF8F0F"/>
              </a:solidFill>
            </a:ln>
          </c:spPr>
          <c:marker>
            <c:symbol val="none"/>
          </c:marker>
          <c:dLbls>
            <c:dLbl>
              <c:idx val="8"/>
              <c:layout>
                <c:manualLayout>
                  <c:x val="0"/>
                  <c:y val="6.531356166680209E-3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C$2:$C$24</c:f>
              <c:numCache>
                <c:formatCode>General</c:formatCode>
                <c:ptCount val="23"/>
                <c:pt idx="8">
                  <c:v>0</c:v>
                </c:pt>
                <c:pt idx="9">
                  <c:v>1</c:v>
                </c:pt>
                <c:pt idx="10">
                  <c:v>2</c:v>
                </c:pt>
                <c:pt idx="11">
                  <c:v>3</c:v>
                </c:pt>
                <c:pt idx="12">
                  <c:v>4</c:v>
                </c:pt>
                <c:pt idx="13">
                  <c:v>5</c:v>
                </c:pt>
                <c:pt idx="14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35B-4922-BBB8-1E715AD0F4D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Kategorie 3</c:v>
                </c:pt>
              </c:strCache>
            </c:strRef>
          </c:tx>
          <c:spPr>
            <a:ln w="38100">
              <a:solidFill>
                <a:srgbClr val="E5DFDA"/>
              </a:solidFill>
            </a:ln>
          </c:spPr>
          <c:marker>
            <c:symbol val="none"/>
          </c:marker>
          <c:dLbls>
            <c:dLbl>
              <c:idx val="16"/>
              <c:layout>
                <c:manualLayout>
                  <c:x val="-1.6373424124529215E-16"/>
                  <c:y val="9.7970342500203148E-3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D$2:$D$24</c:f>
              <c:numCache>
                <c:formatCode>General</c:formatCode>
                <c:ptCount val="23"/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4</c:v>
                </c:pt>
                <c:pt idx="21">
                  <c:v>5</c:v>
                </c:pt>
                <c:pt idx="22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435B-4922-BBB8-1E715AD0F4D4}"/>
            </c:ext>
          </c:extLst>
        </c:ser>
        <c:dLbls>
          <c:dLblPos val="r"/>
          <c:showLegendKey val="0"/>
          <c:showVal val="1"/>
          <c:showCatName val="0"/>
          <c:showSerName val="0"/>
          <c:showPercent val="0"/>
          <c:showBubbleSize val="0"/>
        </c:dLbls>
        <c:axId val="298176184"/>
        <c:axId val="298176576"/>
      </c:scatterChart>
      <c:valAx>
        <c:axId val="298176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8176576"/>
        <c:crosses val="max"/>
        <c:crossBetween val="midCat"/>
      </c:valAx>
      <c:valAx>
        <c:axId val="298176576"/>
        <c:scaling>
          <c:orientation val="maxMin"/>
        </c:scaling>
        <c:delete val="1"/>
        <c:axPos val="l"/>
        <c:majorGridlines>
          <c:spPr>
            <a:ln w="9525">
              <a:solidFill>
                <a:sysClr val="window" lastClr="FFFFFF">
                  <a:lumMod val="7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298176184"/>
        <c:crosses val="autoZero"/>
        <c:crossBetween val="midCat"/>
      </c:valAx>
      <c:spPr>
        <a:ln>
          <a:noFill/>
        </a:ln>
      </c:spPr>
    </c:plotArea>
    <c:legend>
      <c:legendPos val="b"/>
      <c:layout>
        <c:manualLayout>
          <c:xMode val="edge"/>
          <c:yMode val="edge"/>
          <c:x val="0.32847970561251305"/>
          <c:y val="0.93625470197757832"/>
          <c:w val="0.3430405887749739"/>
          <c:h val="6.3745298022421557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2491377686721381"/>
          <c:y val="0"/>
          <c:w val="0.73704744942945599"/>
          <c:h val="0.76946549849675949"/>
        </c:manualLayout>
      </c:layout>
      <c:scatterChart>
        <c:scatterStyle val="lineMarker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1</c:v>
                </c:pt>
              </c:strCache>
            </c:strRef>
          </c:tx>
          <c:spPr>
            <a:ln w="25400">
              <a:solidFill>
                <a:srgbClr val="000099"/>
              </a:solidFill>
            </a:ln>
          </c:spPr>
          <c:marker>
            <c:symbol val="none"/>
          </c:marker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0-435B-4922-BBB8-1E715AD0F4D4}"/>
              </c:ext>
            </c:extLst>
          </c:dPt>
          <c:dLbls>
            <c:dLbl>
              <c:idx val="0"/>
              <c:layout>
                <c:manualLayout>
                  <c:x val="0"/>
                  <c:y val="1.3062712333360418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B$2:$B$24</c:f>
              <c:numCache>
                <c:formatCode>General</c:formatCode>
                <c:ptCount val="23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35B-4922-BBB8-1E715AD0F4D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ategorie 2</c:v>
                </c:pt>
              </c:strCache>
            </c:strRef>
          </c:tx>
          <c:spPr>
            <a:ln w="25400">
              <a:solidFill>
                <a:srgbClr val="FF8F0F"/>
              </a:solidFill>
            </a:ln>
          </c:spPr>
          <c:marker>
            <c:symbol val="none"/>
          </c:marker>
          <c:dLbls>
            <c:dLbl>
              <c:idx val="8"/>
              <c:layout>
                <c:manualLayout>
                  <c:x val="0"/>
                  <c:y val="6.531356166680209E-3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C$2:$C$24</c:f>
              <c:numCache>
                <c:formatCode>General</c:formatCode>
                <c:ptCount val="23"/>
                <c:pt idx="8">
                  <c:v>0</c:v>
                </c:pt>
                <c:pt idx="9">
                  <c:v>1</c:v>
                </c:pt>
                <c:pt idx="10">
                  <c:v>2</c:v>
                </c:pt>
                <c:pt idx="11">
                  <c:v>3</c:v>
                </c:pt>
                <c:pt idx="12">
                  <c:v>4</c:v>
                </c:pt>
                <c:pt idx="13">
                  <c:v>5</c:v>
                </c:pt>
                <c:pt idx="14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35B-4922-BBB8-1E715AD0F4D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Kategorie 3</c:v>
                </c:pt>
              </c:strCache>
            </c:strRef>
          </c:tx>
          <c:spPr>
            <a:ln w="25400">
              <a:solidFill>
                <a:srgbClr val="1796EB"/>
              </a:solidFill>
            </a:ln>
          </c:spPr>
          <c:marker>
            <c:symbol val="none"/>
          </c:marker>
          <c:dLbls>
            <c:dLbl>
              <c:idx val="16"/>
              <c:layout>
                <c:manualLayout>
                  <c:x val="-1.6373424124529215E-16"/>
                  <c:y val="9.7970342500203148E-3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D$2:$D$24</c:f>
              <c:numCache>
                <c:formatCode>General</c:formatCode>
                <c:ptCount val="23"/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4</c:v>
                </c:pt>
                <c:pt idx="21">
                  <c:v>5</c:v>
                </c:pt>
                <c:pt idx="22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435B-4922-BBB8-1E715AD0F4D4}"/>
            </c:ext>
          </c:extLst>
        </c:ser>
        <c:dLbls>
          <c:dLblPos val="r"/>
          <c:showLegendKey val="0"/>
          <c:showVal val="1"/>
          <c:showCatName val="0"/>
          <c:showSerName val="0"/>
          <c:showPercent val="0"/>
          <c:showBubbleSize val="0"/>
        </c:dLbls>
        <c:axId val="298176184"/>
        <c:axId val="298176576"/>
      </c:scatterChart>
      <c:valAx>
        <c:axId val="298176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8176576"/>
        <c:crosses val="max"/>
        <c:crossBetween val="midCat"/>
      </c:valAx>
      <c:valAx>
        <c:axId val="298176576"/>
        <c:scaling>
          <c:orientation val="maxMin"/>
        </c:scaling>
        <c:delete val="1"/>
        <c:axPos val="l"/>
        <c:majorGridlines>
          <c:spPr>
            <a:ln w="9525">
              <a:solidFill>
                <a:sysClr val="window" lastClr="FFFFFF">
                  <a:lumMod val="7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298176184"/>
        <c:crosses val="autoZero"/>
        <c:crossBetween val="midCat"/>
      </c:valAx>
      <c:spPr>
        <a:ln>
          <a:noFill/>
        </a:ln>
      </c:spPr>
    </c:plotArea>
    <c:legend>
      <c:legendPos val="b"/>
      <c:layout>
        <c:manualLayout>
          <c:xMode val="edge"/>
          <c:yMode val="edge"/>
          <c:x val="0.21638407614400518"/>
          <c:y val="0.93625470197757832"/>
          <c:w val="0.7831805734553855"/>
          <c:h val="6.3745298022421557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10024057738572"/>
          <c:y val="0"/>
          <c:w val="0.78829190056134724"/>
          <c:h val="1"/>
        </c:manualLayout>
      </c:layout>
      <c:doughnutChart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000099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A36-442F-AEB6-4DB7FAA17B4B}"/>
              </c:ext>
            </c:extLst>
          </c:dPt>
          <c:dPt>
            <c:idx val="1"/>
            <c:bubble3D val="0"/>
            <c:spPr>
              <a:solidFill>
                <a:srgbClr val="FE8F11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BA36-442F-AEB6-4DB7FAA17B4B}"/>
              </c:ext>
            </c:extLst>
          </c:dPt>
          <c:dPt>
            <c:idx val="2"/>
            <c:bubble3D val="0"/>
            <c:spPr>
              <a:solidFill>
                <a:srgbClr val="1195EB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BA36-442F-AEB6-4DB7FAA17B4B}"/>
              </c:ext>
            </c:extLst>
          </c:dPt>
          <c:dPt>
            <c:idx val="3"/>
            <c:bubble3D val="0"/>
            <c:spPr>
              <a:solidFill>
                <a:srgbClr val="1195EB">
                  <a:lumMod val="40000"/>
                  <a:lumOff val="60000"/>
                </a:srgbClr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BA36-442F-AEB6-4DB7FAA17B4B}"/>
              </c:ext>
            </c:extLst>
          </c:dPt>
          <c:dPt>
            <c:idx val="4"/>
            <c:bubble3D val="0"/>
            <c:spPr>
              <a:solidFill>
                <a:srgbClr val="5BE3D6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BA36-442F-AEB6-4DB7FAA17B4B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BA36-442F-AEB6-4DB7FAA17B4B}"/>
              </c:ext>
            </c:extLst>
          </c:dPt>
          <c:dLbls>
            <c:dLbl>
              <c:idx val="0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A36-442F-AEB6-4DB7FAA17B4B}"/>
                </c:ext>
              </c:extLst>
            </c:dLbl>
            <c:dLbl>
              <c:idx val="1"/>
              <c:spPr/>
              <c:txPr>
                <a:bodyPr rot="0" anchor="ctr" anchorCtr="1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A36-442F-AEB6-4DB7FAA17B4B}"/>
                </c:ext>
              </c:extLst>
            </c:dLbl>
            <c:dLbl>
              <c:idx val="2"/>
              <c:spPr/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A36-442F-AEB6-4DB7FAA17B4B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A36-442F-AEB6-4DB7FAA17B4B}"/>
                </c:ext>
              </c:extLst>
            </c:dLbl>
            <c:dLbl>
              <c:idx val="4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tx1"/>
                      </a:solidFill>
                      <a:latin typeface="EnBW DIN Pro" panose="020B0504020101020102" pitchFamily="34" charset="0"/>
                      <a:ea typeface="+mn-ea"/>
                      <a:cs typeface="EnBW DIN Pro" panose="020B0504020101020102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A36-442F-AEB6-4DB7FAA17B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t" anchorCtr="0"/>
              <a:lstStyle/>
              <a:p>
                <a:pPr>
                  <a:defRPr sz="12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Text A</c:v>
                </c:pt>
                <c:pt idx="1">
                  <c:v>Text B</c:v>
                </c:pt>
                <c:pt idx="2">
                  <c:v>Text C</c:v>
                </c:pt>
                <c:pt idx="3">
                  <c:v>Text D</c:v>
                </c:pt>
                <c:pt idx="4">
                  <c:v>Text 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14</c:v>
                </c:pt>
                <c:pt idx="2">
                  <c:v>9.3000000000000007</c:v>
                </c:pt>
                <c:pt idx="3">
                  <c:v>7.4</c:v>
                </c:pt>
                <c:pt idx="4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A36-442F-AEB6-4DB7FAA17B4B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l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10024057738572"/>
          <c:y val="0"/>
          <c:w val="0.78829190056134724"/>
          <c:h val="1"/>
        </c:manualLayout>
      </c:layout>
      <c:doughnutChart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000099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3171-49C3-BF0D-5E584C614A38}"/>
              </c:ext>
            </c:extLst>
          </c:dPt>
          <c:dPt>
            <c:idx val="1"/>
            <c:bubble3D val="0"/>
            <c:spPr>
              <a:solidFill>
                <a:srgbClr val="FE8F11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3171-49C3-BF0D-5E584C614A38}"/>
              </c:ext>
            </c:extLst>
          </c:dPt>
          <c:dPt>
            <c:idx val="2"/>
            <c:bubble3D val="0"/>
            <c:spPr>
              <a:solidFill>
                <a:srgbClr val="1195EB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3171-49C3-BF0D-5E584C614A38}"/>
              </c:ext>
            </c:extLst>
          </c:dPt>
          <c:dPt>
            <c:idx val="3"/>
            <c:bubble3D val="0"/>
            <c:spPr>
              <a:solidFill>
                <a:srgbClr val="1195EB">
                  <a:lumMod val="40000"/>
                  <a:lumOff val="60000"/>
                </a:srgbClr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3171-49C3-BF0D-5E584C614A38}"/>
              </c:ext>
            </c:extLst>
          </c:dPt>
          <c:dPt>
            <c:idx val="4"/>
            <c:bubble3D val="0"/>
            <c:spPr>
              <a:solidFill>
                <a:srgbClr val="5BE3D6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3171-49C3-BF0D-5E584C614A38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3171-49C3-BF0D-5E584C614A38}"/>
              </c:ext>
            </c:extLst>
          </c:dPt>
          <c:dLbls>
            <c:dLbl>
              <c:idx val="0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171-49C3-BF0D-5E584C614A38}"/>
                </c:ext>
              </c:extLst>
            </c:dLbl>
            <c:dLbl>
              <c:idx val="1"/>
              <c:spPr/>
              <c:txPr>
                <a:bodyPr rot="0" anchor="ctr" anchorCtr="1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171-49C3-BF0D-5E584C614A38}"/>
                </c:ext>
              </c:extLst>
            </c:dLbl>
            <c:dLbl>
              <c:idx val="2"/>
              <c:spPr/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171-49C3-BF0D-5E584C614A3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171-49C3-BF0D-5E584C614A38}"/>
                </c:ext>
              </c:extLst>
            </c:dLbl>
            <c:dLbl>
              <c:idx val="4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tx1"/>
                      </a:solidFill>
                      <a:latin typeface="EnBW DIN Pro" panose="020B0504020101020102" pitchFamily="34" charset="0"/>
                      <a:ea typeface="+mn-ea"/>
                      <a:cs typeface="EnBW DIN Pro" panose="020B0504020101020102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171-49C3-BF0D-5E584C614A3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t" anchorCtr="0"/>
              <a:lstStyle/>
              <a:p>
                <a:pPr>
                  <a:defRPr sz="12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Text A</c:v>
                </c:pt>
                <c:pt idx="1">
                  <c:v>Text B</c:v>
                </c:pt>
                <c:pt idx="2">
                  <c:v>Text C</c:v>
                </c:pt>
                <c:pt idx="3">
                  <c:v>Text D</c:v>
                </c:pt>
                <c:pt idx="4">
                  <c:v>Text 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14</c:v>
                </c:pt>
                <c:pt idx="2">
                  <c:v>9.3000000000000007</c:v>
                </c:pt>
                <c:pt idx="3">
                  <c:v>7.4</c:v>
                </c:pt>
                <c:pt idx="4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171-49C3-BF0D-5E584C614A38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l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10024057738572"/>
          <c:y val="0"/>
          <c:w val="0.78829190056134724"/>
          <c:h val="1"/>
        </c:manualLayout>
      </c:layout>
      <c:doughnutChart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000099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A36-442F-AEB6-4DB7FAA17B4B}"/>
              </c:ext>
            </c:extLst>
          </c:dPt>
          <c:dPt>
            <c:idx val="1"/>
            <c:bubble3D val="0"/>
            <c:spPr>
              <a:solidFill>
                <a:srgbClr val="FE8F11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BA36-442F-AEB6-4DB7FAA17B4B}"/>
              </c:ext>
            </c:extLst>
          </c:dPt>
          <c:dPt>
            <c:idx val="2"/>
            <c:bubble3D val="0"/>
            <c:spPr>
              <a:solidFill>
                <a:srgbClr val="1195EB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BA36-442F-AEB6-4DB7FAA17B4B}"/>
              </c:ext>
            </c:extLst>
          </c:dPt>
          <c:dPt>
            <c:idx val="3"/>
            <c:bubble3D val="0"/>
            <c:spPr>
              <a:solidFill>
                <a:srgbClr val="1195EB">
                  <a:lumMod val="40000"/>
                  <a:lumOff val="60000"/>
                </a:srgbClr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BA36-442F-AEB6-4DB7FAA17B4B}"/>
              </c:ext>
            </c:extLst>
          </c:dPt>
          <c:dPt>
            <c:idx val="4"/>
            <c:bubble3D val="0"/>
            <c:spPr>
              <a:solidFill>
                <a:srgbClr val="5BE3D6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BA36-442F-AEB6-4DB7FAA17B4B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BA36-442F-AEB6-4DB7FAA17B4B}"/>
              </c:ext>
            </c:extLst>
          </c:dPt>
          <c:dLbls>
            <c:dLbl>
              <c:idx val="0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A36-442F-AEB6-4DB7FAA17B4B}"/>
                </c:ext>
              </c:extLst>
            </c:dLbl>
            <c:dLbl>
              <c:idx val="1"/>
              <c:spPr/>
              <c:txPr>
                <a:bodyPr rot="0" anchor="ctr" anchorCtr="1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A36-442F-AEB6-4DB7FAA17B4B}"/>
                </c:ext>
              </c:extLst>
            </c:dLbl>
            <c:dLbl>
              <c:idx val="2"/>
              <c:spPr/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A36-442F-AEB6-4DB7FAA17B4B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A36-442F-AEB6-4DB7FAA17B4B}"/>
                </c:ext>
              </c:extLst>
            </c:dLbl>
            <c:dLbl>
              <c:idx val="4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tx1"/>
                      </a:solidFill>
                      <a:latin typeface="EnBW DIN Pro" panose="020B0504020101020102" pitchFamily="34" charset="0"/>
                      <a:ea typeface="+mn-ea"/>
                      <a:cs typeface="EnBW DIN Pro" panose="020B0504020101020102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A36-442F-AEB6-4DB7FAA17B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t" anchorCtr="0"/>
              <a:lstStyle/>
              <a:p>
                <a:pPr>
                  <a:defRPr sz="12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Text A</c:v>
                </c:pt>
                <c:pt idx="1">
                  <c:v>Text B</c:v>
                </c:pt>
                <c:pt idx="2">
                  <c:v>Text C</c:v>
                </c:pt>
                <c:pt idx="3">
                  <c:v>Text D</c:v>
                </c:pt>
                <c:pt idx="4">
                  <c:v>Text 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14</c:v>
                </c:pt>
                <c:pt idx="2">
                  <c:v>9.3000000000000007</c:v>
                </c:pt>
                <c:pt idx="3">
                  <c:v>7.4</c:v>
                </c:pt>
                <c:pt idx="4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A36-442F-AEB6-4DB7FAA17B4B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l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10024057738572"/>
          <c:y val="0"/>
          <c:w val="0.78829190056134724"/>
          <c:h val="1"/>
        </c:manualLayout>
      </c:layout>
      <c:doughnutChart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000099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3171-49C3-BF0D-5E584C614A38}"/>
              </c:ext>
            </c:extLst>
          </c:dPt>
          <c:dPt>
            <c:idx val="1"/>
            <c:bubble3D val="0"/>
            <c:spPr>
              <a:solidFill>
                <a:srgbClr val="FE8F11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3171-49C3-BF0D-5E584C614A38}"/>
              </c:ext>
            </c:extLst>
          </c:dPt>
          <c:dPt>
            <c:idx val="2"/>
            <c:bubble3D val="0"/>
            <c:spPr>
              <a:solidFill>
                <a:srgbClr val="1195EB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3171-49C3-BF0D-5E584C614A38}"/>
              </c:ext>
            </c:extLst>
          </c:dPt>
          <c:dPt>
            <c:idx val="3"/>
            <c:bubble3D val="0"/>
            <c:spPr>
              <a:solidFill>
                <a:srgbClr val="1195EB">
                  <a:lumMod val="40000"/>
                  <a:lumOff val="60000"/>
                </a:srgbClr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3171-49C3-BF0D-5E584C614A38}"/>
              </c:ext>
            </c:extLst>
          </c:dPt>
          <c:dPt>
            <c:idx val="4"/>
            <c:bubble3D val="0"/>
            <c:spPr>
              <a:solidFill>
                <a:srgbClr val="5BE3D6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3171-49C3-BF0D-5E584C614A38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3171-49C3-BF0D-5E584C614A38}"/>
              </c:ext>
            </c:extLst>
          </c:dPt>
          <c:dLbls>
            <c:dLbl>
              <c:idx val="0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171-49C3-BF0D-5E584C614A38}"/>
                </c:ext>
              </c:extLst>
            </c:dLbl>
            <c:dLbl>
              <c:idx val="1"/>
              <c:spPr/>
              <c:txPr>
                <a:bodyPr rot="0" anchor="ctr" anchorCtr="1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171-49C3-BF0D-5E584C614A38}"/>
                </c:ext>
              </c:extLst>
            </c:dLbl>
            <c:dLbl>
              <c:idx val="2"/>
              <c:spPr/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171-49C3-BF0D-5E584C614A3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171-49C3-BF0D-5E584C614A38}"/>
                </c:ext>
              </c:extLst>
            </c:dLbl>
            <c:dLbl>
              <c:idx val="4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tx1"/>
                      </a:solidFill>
                      <a:latin typeface="EnBW DIN Pro" panose="020B0504020101020102" pitchFamily="34" charset="0"/>
                      <a:ea typeface="+mn-ea"/>
                      <a:cs typeface="EnBW DIN Pro" panose="020B0504020101020102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171-49C3-BF0D-5E584C614A3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t" anchorCtr="0"/>
              <a:lstStyle/>
              <a:p>
                <a:pPr>
                  <a:defRPr sz="12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Text A</c:v>
                </c:pt>
                <c:pt idx="1">
                  <c:v>Text B</c:v>
                </c:pt>
                <c:pt idx="2">
                  <c:v>Text C</c:v>
                </c:pt>
                <c:pt idx="3">
                  <c:v>Text D</c:v>
                </c:pt>
                <c:pt idx="4">
                  <c:v>Text 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14</c:v>
                </c:pt>
                <c:pt idx="2">
                  <c:v>9.3000000000000007</c:v>
                </c:pt>
                <c:pt idx="3">
                  <c:v>7.4</c:v>
                </c:pt>
                <c:pt idx="4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171-49C3-BF0D-5E584C614A38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l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7.1029428173304723E-2"/>
          <c:w val="1"/>
          <c:h val="0.7472857887949265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Kategorie 1</c:v>
                </c:pt>
              </c:strCache>
            </c:strRef>
          </c:tx>
          <c:spPr>
            <a:solidFill>
              <a:srgbClr val="FF990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ysClr val="window" lastClr="FFFFFF">
                  <a:lumMod val="50000"/>
                </a:sysClr>
              </a:solidFill>
            </c:spPr>
            <c:extLst>
              <c:ext xmlns:c16="http://schemas.microsoft.com/office/drawing/2014/chart" uri="{C3380CC4-5D6E-409C-BE32-E72D297353CC}">
                <c16:uniqueId val="{00000001-8CA6-48D8-8B82-7B9517F24CA7}"/>
              </c:ext>
            </c:extLst>
          </c:dPt>
          <c:dPt>
            <c:idx val="1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D-8CA6-48D8-8B82-7B9517F24CA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CA6-48D8-8B82-7B9517F24CA7}"/>
              </c:ext>
            </c:extLst>
          </c:dPt>
          <c:dLbls>
            <c:delete val="1"/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2:$C$2</c:f>
              <c:numCache>
                <c:formatCode>General</c:formatCode>
                <c:ptCount val="2"/>
                <c:pt idx="0">
                  <c:v>5.4</c:v>
                </c:pt>
                <c:pt idx="1">
                  <c:v>5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CA6-48D8-8B82-7B9517F24CA7}"/>
            </c:ext>
          </c:extLst>
        </c:ser>
        <c:ser>
          <c:idx val="1"/>
          <c:order val="1"/>
          <c:tx>
            <c:strRef>
              <c:f>Tabelle1!$A$3</c:f>
              <c:strCache>
                <c:ptCount val="1"/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</c:spPr>
            <c:extLst>
              <c:ext xmlns:c16="http://schemas.microsoft.com/office/drawing/2014/chart" uri="{C3380CC4-5D6E-409C-BE32-E72D297353CC}">
                <c16:uniqueId val="{0000000C-8CA6-48D8-8B82-7B9517F24CA7}"/>
              </c:ext>
            </c:extLst>
          </c:dPt>
          <c:dPt>
            <c:idx val="1"/>
            <c:invertIfNegative val="0"/>
            <c:bubble3D val="0"/>
            <c:spPr>
              <a:solidFill>
                <a:srgbClr val="1796EB"/>
              </a:solidFill>
            </c:spPr>
            <c:extLst>
              <c:ext xmlns:c16="http://schemas.microsoft.com/office/drawing/2014/chart" uri="{C3380CC4-5D6E-409C-BE32-E72D297353CC}">
                <c16:uniqueId val="{00000005-8CA6-48D8-8B82-7B9517F24CA7}"/>
              </c:ext>
            </c:extLst>
          </c:dPt>
          <c:dLbls>
            <c:delete val="1"/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3:$C$3</c:f>
              <c:numCache>
                <c:formatCode>General</c:formatCode>
                <c:ptCount val="2"/>
                <c:pt idx="0">
                  <c:v>0.5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CA6-48D8-8B82-7B9517F24CA7}"/>
            </c:ext>
          </c:extLst>
        </c:ser>
        <c:ser>
          <c:idx val="2"/>
          <c:order val="2"/>
          <c:tx>
            <c:strRef>
              <c:f>Tabelle1!$A$4</c:f>
              <c:strCache>
                <c:ptCount val="1"/>
              </c:strCache>
            </c:strRef>
          </c:tx>
          <c:spPr>
            <a:solidFill>
              <a:srgbClr val="E3E3E3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E5DFDA"/>
              </a:solidFill>
            </c:spPr>
            <c:extLst>
              <c:ext xmlns:c16="http://schemas.microsoft.com/office/drawing/2014/chart" uri="{C3380CC4-5D6E-409C-BE32-E72D297353CC}">
                <c16:uniqueId val="{0000000B-8CA6-48D8-8B82-7B9517F24CA7}"/>
              </c:ext>
            </c:extLst>
          </c:dPt>
          <c:dPt>
            <c:idx val="1"/>
            <c:invertIfNegative val="0"/>
            <c:bubble3D val="0"/>
            <c:spPr>
              <a:solidFill>
                <a:srgbClr val="1796EB">
                  <a:lumMod val="40000"/>
                  <a:lumOff val="60000"/>
                </a:srgbClr>
              </a:solidFill>
            </c:spPr>
            <c:extLst>
              <c:ext xmlns:c16="http://schemas.microsoft.com/office/drawing/2014/chart" uri="{C3380CC4-5D6E-409C-BE32-E72D297353CC}">
                <c16:uniqueId val="{00000008-8CA6-48D8-8B82-7B9517F24CA7}"/>
              </c:ext>
            </c:extLst>
          </c:dPt>
          <c:dLbls>
            <c:delete val="1"/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4:$C$4</c:f>
              <c:numCache>
                <c:formatCode>General</c:formatCode>
                <c:ptCount val="2"/>
                <c:pt idx="0">
                  <c:v>0.4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CA6-48D8-8B82-7B9517F24CA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96087776"/>
        <c:axId val="296088168"/>
      </c:barChart>
      <c:catAx>
        <c:axId val="296087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200" b="1"/>
            </a:pPr>
            <a:endParaRPr lang="de-DE"/>
          </a:p>
        </c:txPr>
        <c:crossAx val="296088168"/>
        <c:crosses val="autoZero"/>
        <c:auto val="1"/>
        <c:lblAlgn val="ctr"/>
        <c:lblOffset val="100"/>
        <c:noMultiLvlLbl val="0"/>
      </c:catAx>
      <c:valAx>
        <c:axId val="296088168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6087776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9460905450575311"/>
          <c:w val="0.99846872138640808"/>
          <c:h val="0.6237062408554799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990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E5DFDA"/>
              </a:solidFill>
            </c:spPr>
            <c:extLst>
              <c:ext xmlns:c16="http://schemas.microsoft.com/office/drawing/2014/chart" uri="{C3380CC4-5D6E-409C-BE32-E72D297353CC}">
                <c16:uniqueId val="{00000001-0C8F-403A-B340-D1D481EB1E74}"/>
              </c:ext>
            </c:extLst>
          </c:dPt>
          <c:dPt>
            <c:idx val="1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7-0C8F-403A-B340-D1D481EB1E7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C8F-403A-B340-D1D481EB1E74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C8F-403A-B340-D1D481EB1E7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2:$C$2</c:f>
              <c:numCache>
                <c:formatCode>General</c:formatCode>
                <c:ptCount val="2"/>
                <c:pt idx="0">
                  <c:v>7.2</c:v>
                </c:pt>
                <c:pt idx="1">
                  <c:v>6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8F-403A-B340-D1D481EB1E74}"/>
            </c:ext>
          </c:extLst>
        </c:ser>
        <c:ser>
          <c:idx val="1"/>
          <c:order val="1"/>
          <c:spPr>
            <a:solidFill>
              <a:srgbClr val="FF9900">
                <a:lumMod val="40000"/>
                <a:lumOff val="60000"/>
              </a:srgbClr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1796EB"/>
              </a:solidFill>
            </c:spPr>
            <c:extLst>
              <c:ext xmlns:c16="http://schemas.microsoft.com/office/drawing/2014/chart" uri="{C3380CC4-5D6E-409C-BE32-E72D297353CC}">
                <c16:uniqueId val="{00000008-0C8F-403A-B340-D1D481EB1E74}"/>
              </c:ext>
            </c:extLst>
          </c:dPt>
          <c:dLbls>
            <c:delete val="1"/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3:$C$3</c:f>
              <c:numCache>
                <c:formatCode>General</c:formatCode>
                <c:ptCount val="2"/>
                <c:pt idx="1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C8F-403A-B340-D1D481EB1E7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96085424"/>
        <c:axId val="296085816"/>
      </c:barChart>
      <c:lineChart>
        <c:grouping val="standard"/>
        <c:varyColors val="0"/>
        <c:ser>
          <c:idx val="2"/>
          <c:order val="2"/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4:$C$4</c:f>
              <c:numCache>
                <c:formatCode>General</c:formatCode>
                <c:ptCount val="2"/>
                <c:pt idx="0">
                  <c:v>7.2</c:v>
                </c:pt>
                <c:pt idx="1">
                  <c:v>7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C8F-403A-B340-D1D481EB1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6085424"/>
        <c:axId val="296085816"/>
      </c:lineChart>
      <c:catAx>
        <c:axId val="296085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200" b="1">
                <a:solidFill>
                  <a:schemeClr val="tx1"/>
                </a:solidFill>
              </a:defRPr>
            </a:pPr>
            <a:endParaRPr lang="de-DE"/>
          </a:p>
        </c:txPr>
        <c:crossAx val="296085816"/>
        <c:crosses val="autoZero"/>
        <c:auto val="1"/>
        <c:lblAlgn val="ctr"/>
        <c:lblOffset val="100"/>
        <c:noMultiLvlLbl val="0"/>
      </c:catAx>
      <c:valAx>
        <c:axId val="296085816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6085424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7357707444020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71-460F-B057-12C43E0F6DB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FE8F1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71-460F-B057-12C43E0F6DB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1195EB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71-460F-B057-12C43E0F6DB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93170381456448037"/>
          <c:w val="0.33027866326583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35101203658540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71-460F-B057-12C43E0F6DB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FE8F1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71-460F-B057-12C43E0F6DB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1195EB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71-460F-B057-12C43E0F6DB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88360897608739786"/>
          <c:w val="0.33027866326583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9.9395999519304085E-2"/>
          <c:w val="1"/>
          <c:h val="0.719069590832846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71-460F-B057-12C43E0F6DB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FE8F1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71-460F-B057-12C43E0F6DB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1195EB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71-460F-B057-12C43E0F6DB0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atenreihe 4</c:v>
                </c:pt>
              </c:strCache>
            </c:strRef>
          </c:tx>
          <c:spPr>
            <a:solidFill>
              <a:srgbClr val="1195EB">
                <a:lumMod val="40000"/>
                <a:lumOff val="60000"/>
              </a:srgb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E$2</c:f>
              <c:numCache>
                <c:formatCode>General</c:formatCode>
                <c:ptCount val="1"/>
                <c:pt idx="0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91-4B82-BC13-C9D3F806039B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Datenreihe 5</c:v>
                </c:pt>
              </c:strCache>
            </c:strRef>
          </c:tx>
          <c:spPr>
            <a:solidFill>
              <a:srgbClr val="5BE3D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F$2</c:f>
              <c:numCache>
                <c:formatCode>General</c:formatCode>
                <c:ptCount val="1"/>
                <c:pt idx="0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91-4B82-BC13-C9D3F806039B}"/>
            </c:ext>
          </c:extLst>
        </c:ser>
        <c:ser>
          <c:idx val="5"/>
          <c:order val="5"/>
          <c:tx>
            <c:strRef>
              <c:f>Tabelle1!$G$1</c:f>
              <c:strCache>
                <c:ptCount val="1"/>
                <c:pt idx="0">
                  <c:v>Datenreihe 6</c:v>
                </c:pt>
              </c:strCache>
            </c:strRef>
          </c:tx>
          <c:spPr>
            <a:solidFill>
              <a:srgbClr val="5BE3D6">
                <a:lumMod val="40000"/>
                <a:lumOff val="60000"/>
              </a:srgb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G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91-4B82-BC13-C9D3F806039B}"/>
            </c:ext>
          </c:extLst>
        </c:ser>
        <c:ser>
          <c:idx val="6"/>
          <c:order val="6"/>
          <c:tx>
            <c:strRef>
              <c:f>Tabelle1!$H$1</c:f>
              <c:strCache>
                <c:ptCount val="1"/>
                <c:pt idx="0">
                  <c:v>Datenreihe 7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84C041"/>
              </a:solidFill>
            </c:spPr>
            <c:extLst>
              <c:ext xmlns:c16="http://schemas.microsoft.com/office/drawing/2014/chart" uri="{C3380CC4-5D6E-409C-BE32-E72D297353CC}">
                <c16:uniqueId val="{00000006-B691-4B82-BC13-C9D3F806039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H$2</c:f>
              <c:numCache>
                <c:formatCode>General</c:formatCode>
                <c:ptCount val="1"/>
                <c:pt idx="0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91-4B82-BC13-C9D3F806039B}"/>
            </c:ext>
          </c:extLst>
        </c:ser>
        <c:ser>
          <c:idx val="7"/>
          <c:order val="7"/>
          <c:tx>
            <c:strRef>
              <c:f>Tabelle1!$I$1</c:f>
              <c:strCache>
                <c:ptCount val="1"/>
                <c:pt idx="0">
                  <c:v>Datenreihe 8</c:v>
                </c:pt>
              </c:strCache>
            </c:strRef>
          </c:tx>
          <c:spPr>
            <a:solidFill>
              <a:srgbClr val="84C041">
                <a:lumMod val="40000"/>
                <a:lumOff val="60000"/>
              </a:srgb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I$2</c:f>
              <c:numCache>
                <c:formatCode>General</c:formatCode>
                <c:ptCount val="1"/>
                <c:pt idx="0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91-4B82-BC13-C9D3F806039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0"/>
        <c:overlap val="-1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7357707444020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71-460F-B057-12C43E0F6DB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FE8F1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71-460F-B057-12C43E0F6DB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1195EB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71-460F-B057-12C43E0F6DB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4665184757435699"/>
          <c:y val="0.93170381456448037"/>
          <c:w val="0.50669616999332057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6828567374933919E-2"/>
          <c:y val="3.2488691487988025E-2"/>
          <c:w val="0.91627313439684477"/>
          <c:h val="0.7188892903475587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AC6-4848-8172-75B84A3940C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0">
                  <c:v>19</c:v>
                </c:pt>
                <c:pt idx="1">
                  <c:v>14.3</c:v>
                </c:pt>
                <c:pt idx="2">
                  <c:v>28.9</c:v>
                </c:pt>
                <c:pt idx="3">
                  <c:v>91.6</c:v>
                </c:pt>
                <c:pt idx="4">
                  <c:v>42.6</c:v>
                </c:pt>
                <c:pt idx="5">
                  <c:v>5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C6-4848-8172-75B84A3940C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50"/>
        <c:overlap val="100"/>
        <c:axId val="296091304"/>
        <c:axId val="296091696"/>
      </c:barChart>
      <c:lineChart>
        <c:grouping val="standard"/>
        <c:varyColors val="0"/>
        <c:ser>
          <c:idx val="1"/>
          <c:order val="1"/>
          <c:tx>
            <c:strRef>
              <c:f>Tabelle1!$A$3</c:f>
              <c:strCache>
                <c:ptCount val="1"/>
                <c:pt idx="0">
                  <c:v>Datenreihe 2</c:v>
                </c:pt>
              </c:strCache>
            </c:strRef>
          </c:tx>
          <c:spPr>
            <a:ln>
              <a:solidFill>
                <a:srgbClr val="FF9900"/>
              </a:solidFill>
            </a:ln>
          </c:spPr>
          <c:marker>
            <c:symbol val="none"/>
          </c:marker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AC6-4848-8172-75B84A3940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32.6</c:v>
                </c:pt>
                <c:pt idx="1">
                  <c:v>28.5</c:v>
                </c:pt>
                <c:pt idx="2">
                  <c:v>40.200000000000003</c:v>
                </c:pt>
                <c:pt idx="3">
                  <c:v>44.3</c:v>
                </c:pt>
                <c:pt idx="4">
                  <c:v>47.9</c:v>
                </c:pt>
                <c:pt idx="5">
                  <c:v>64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AC6-4848-8172-75B84A3940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6092480"/>
        <c:axId val="296092088"/>
      </c:lineChart>
      <c:catAx>
        <c:axId val="296091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/>
            </a:pPr>
            <a:endParaRPr lang="de-DE"/>
          </a:p>
        </c:txPr>
        <c:crossAx val="296091696"/>
        <c:crosses val="autoZero"/>
        <c:auto val="1"/>
        <c:lblAlgn val="ctr"/>
        <c:lblOffset val="100"/>
        <c:noMultiLvlLbl val="0"/>
      </c:catAx>
      <c:valAx>
        <c:axId val="296091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de-DE"/>
          </a:p>
        </c:txPr>
        <c:crossAx val="296091304"/>
        <c:crosses val="autoZero"/>
        <c:crossBetween val="between"/>
      </c:valAx>
      <c:valAx>
        <c:axId val="29609208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de-DE"/>
          </a:p>
        </c:txPr>
        <c:crossAx val="296092480"/>
        <c:crosses val="max"/>
        <c:crossBetween val="between"/>
      </c:valAx>
      <c:catAx>
        <c:axId val="296092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96092088"/>
        <c:crosses val="autoZero"/>
        <c:auto val="1"/>
        <c:lblAlgn val="ctr"/>
        <c:lblOffset val="100"/>
        <c:noMultiLvlLbl val="0"/>
      </c:catAx>
      <c:spPr>
        <a:ln>
          <a:noFill/>
        </a:ln>
      </c:spPr>
    </c:plotArea>
    <c:legend>
      <c:legendPos val="b"/>
      <c:layout>
        <c:manualLayout>
          <c:xMode val="edge"/>
          <c:yMode val="edge"/>
          <c:x val="0.37583344130894214"/>
          <c:y val="0.93821138703999352"/>
          <c:w val="0.24833311738211569"/>
          <c:h val="6.1788888833894551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BC8D5B3-5D05-44FE-9539-97CAF417B3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BFF6DCE-602F-4FA4-A2AD-B14D2A98E9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A046A3-4902-4EC9-95D7-A3EDABBB9CA3}" type="datetimeFigureOut">
              <a:rPr lang="de-DE" smtClean="0"/>
              <a:t>21.04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6ADBCEA-6581-46DF-AB13-E4EC45AFB67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7A7C86-2A85-4165-819B-9DE8FC8549D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61F8CC-7071-40CE-8835-ECFAFB1E83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534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97160" y="8856984"/>
            <a:ext cx="2971800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021288" y="8856984"/>
            <a:ext cx="739552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1FB20EB5-88DF-4EA6-8586-32EED35EC0E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797152" y="8856984"/>
            <a:ext cx="1152128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31A75A65-F437-4B55-8084-F9CC046EDB3A}" type="datetimeFigureOut">
              <a:rPr lang="de-DE" smtClean="0"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7472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200"/>
      </a:spcAft>
      <a:defRPr sz="1200" b="1" kern="1200">
        <a:solidFill>
          <a:schemeClr val="tx2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70000" indent="-27000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1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46155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920008-DBE9-4BE6-8B7D-67E73399CDD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63332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7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4401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34471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4418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72767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6322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01994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87324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36546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920008-DBE9-4BE6-8B7D-67E73399CDD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66792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ohne Bild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988" y="1664804"/>
            <a:ext cx="6408000" cy="1784282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5769292"/>
            <a:ext cx="5400674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3A0A4D8-656B-0BB7-3EC2-373E04EC6E50}"/>
              </a:ext>
            </a:extLst>
          </p:cNvPr>
          <p:cNvGrpSpPr/>
          <p:nvPr userDrawn="1"/>
        </p:nvGrpSpPr>
        <p:grpSpPr>
          <a:xfrm>
            <a:off x="7534876" y="1772816"/>
            <a:ext cx="4249755" cy="4243727"/>
            <a:chOff x="3514725" y="852488"/>
            <a:chExt cx="5162347" cy="5155024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150C4D71-E197-DB03-30B5-C53827FBDAFC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36B0F6B1-7161-CA5A-F735-4B67106E5D60}"/>
                </a:ext>
              </a:extLst>
            </p:cNvPr>
            <p:cNvSpPr/>
            <p:nvPr/>
          </p:nvSpPr>
          <p:spPr>
            <a:xfrm rot="16200000">
              <a:off x="6222290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C31079FC-C028-1724-F6B1-525E47A62687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CA8C367F-6C20-42FF-508B-EF6CDA14586C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348A1AED-915C-A507-D5DD-7381DA508C9D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60F68BD-2567-AD96-F537-9E43770F809B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B6D3EB79-D263-0AB1-A1EE-429F2BB14A6E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F83C971-AC20-D23A-CE7F-B79869CA79A4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44972A20-E111-07C5-C1F0-F54F356D494C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F87CD585-288D-EEC8-99F4-FF1F7E8191CE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53464A73-2A4B-11D1-C414-9B2E63ADAFF7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964A1628-3D59-38B9-CF6D-8998DC45C609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40D5634-FD7B-AA9E-92C1-FE77FD6D4686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C6EE583-F0CF-60A6-1941-436D1770FBF6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177612D-D979-7ABC-9267-A04827EA4AC5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B477B4CC-C9C4-0992-D5BA-BDED7DF4F752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4FFFEFE3-19D9-2299-71D4-D9440B294416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3638CC25-9ED3-C5DC-A1CD-61EEFCA82DC3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DA185071-CBA2-D7BC-3093-A1077EF1EBA3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B16C986-D831-E056-356A-3529698613FE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ADEA2E9B-B5D3-A0A7-6CD1-374232973438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AC2667A0-C78A-51F2-107D-EE22675C3B78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D83E6E36-9E48-058C-2CC5-468EB19DC7F9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464CB8F2-5A98-B504-5E24-2F546D595C4E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E1125FF-2DD5-6CBD-F5A2-B5FD6FB19DF2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096ABDE0-1ABA-6FDF-F4C0-C0041D99A285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9052CCA6-CB2D-7269-E5CE-6E7AB78C0353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A1CC189C-A2D9-48CE-0C11-4C398AD2BFBA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41" name="Grafik 40">
            <a:extLst>
              <a:ext uri="{FF2B5EF4-FFF2-40B4-BE49-F238E27FC236}">
                <a16:creationId xmlns:a16="http://schemas.microsoft.com/office/drawing/2014/main" id="{598B3B17-6A4B-7491-8D21-55A1B55D62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4" cy="565200"/>
          </a:xfrm>
          <a:prstGeom prst="rect">
            <a:avLst/>
          </a:prstGeom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485F726D-D34B-D771-E942-D877E0F7125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rgbClr val="1195EB"/>
                </a:solidFill>
              </a:rPr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218334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406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332867"/>
            <a:ext cx="7848253" cy="5038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tx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tx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7DFD1B8-1D4C-210D-A987-68BD33E4C7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0456" y="419762"/>
            <a:ext cx="1584176" cy="344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725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617132"/>
            <a:ext cx="7344000" cy="1656668"/>
          </a:xfrm>
        </p:spPr>
        <p:txBody>
          <a:bodyPr anchor="t" anchorCtr="0"/>
          <a:lstStyle>
            <a:lvl1pPr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903198"/>
            <a:ext cx="2077492" cy="3677930"/>
          </a:xfrm>
        </p:spPr>
        <p:txBody>
          <a:bodyPr wrap="none" anchor="b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4FFF43E-9254-821C-20D4-A713264C1687}"/>
              </a:ext>
            </a:extLst>
          </p:cNvPr>
          <p:cNvGrpSpPr/>
          <p:nvPr userDrawn="1"/>
        </p:nvGrpSpPr>
        <p:grpSpPr>
          <a:xfrm>
            <a:off x="8688388" y="3356908"/>
            <a:ext cx="3095625" cy="3091683"/>
            <a:chOff x="3514725" y="852488"/>
            <a:chExt cx="5161597" cy="5155024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B3084FD0-FAE7-642B-2C16-D411823F90A2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4FC709DC-67CD-CD4A-6EF9-33228DD122E2}"/>
                </a:ext>
              </a:extLst>
            </p:cNvPr>
            <p:cNvSpPr/>
            <p:nvPr/>
          </p:nvSpPr>
          <p:spPr>
            <a:xfrm rot="16200000">
              <a:off x="6215063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49B632AB-F036-B2C7-939F-9053E0503042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23E90575-6A64-259B-DBA6-93A89B13F513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D35F0D13-141E-CA2A-0336-010F10A5E039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BEA57166-D30E-5117-3E3F-6D404E24610F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C44CF96C-A745-2042-FCCC-A2114C179E33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ECA7D599-1C11-C804-03D1-228667C1942F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B165CE51-F2C1-923C-FF2C-D9BAE7A527A5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CF4A4E37-8C1A-8F8E-6DFF-4B970B31A8F4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2E5E9F96-2D1C-7AE7-6892-EBE816500962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2179E3E9-D485-F757-CA14-9F84A8E82204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19906D56-DF1A-BF65-9036-1DEA52A69F24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CCC75D36-3BA9-1CD7-C636-0DB2AB7FAF86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2A23317E-56D8-C3CE-3EFA-114BDE97426D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66A12DDC-B4F6-8EB4-4FB7-AB90F4E44471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6F1746D5-418C-1326-5F93-08B57CD22693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F4C389E7-2585-4115-FC68-8A2A3C40E774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7A178E18-7F9B-0DD8-16C6-0AE07D1C924A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84043195-9E58-61FB-77AB-E7AAC398DA47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7935C5D9-112D-411F-52F7-1D2E27ED507F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4C8BCB33-CC5F-4FE6-4875-D8A28E139C47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264C9980-1B01-26A7-D1EA-05D68ECCDC24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5A79BF7-B4F6-CDAB-CF53-10ED2B5B0C2E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E87AC216-3FE3-8370-2B7B-AFA595ADFA11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52DAD762-409F-979F-AC6A-0AE05CEC64A3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27105E42-86CA-A511-3061-B78AA552E4A2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BD815BA5-F412-978C-FD0A-C398F0D531F0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9A68869F-2E3E-1549-D21C-C3641887A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4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72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617132"/>
            <a:ext cx="7344000" cy="1656668"/>
          </a:xfrm>
        </p:spPr>
        <p:txBody>
          <a:bodyPr anchor="t" anchorCtr="0"/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903198"/>
            <a:ext cx="2077492" cy="3677930"/>
          </a:xfrm>
        </p:spPr>
        <p:txBody>
          <a:bodyPr wrap="none" anchor="b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tx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B8109A07-6A3E-6E7E-E71E-A48639052359}"/>
              </a:ext>
            </a:extLst>
          </p:cNvPr>
          <p:cNvGrpSpPr/>
          <p:nvPr userDrawn="1"/>
        </p:nvGrpSpPr>
        <p:grpSpPr>
          <a:xfrm>
            <a:off x="8688388" y="3356908"/>
            <a:ext cx="3095625" cy="3091683"/>
            <a:chOff x="3514725" y="852488"/>
            <a:chExt cx="5161597" cy="5155024"/>
          </a:xfrm>
        </p:grpSpPr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29FD97B2-1BEF-B488-7137-655BCB497A23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A0BE672D-A241-5FD0-3864-AD43CF3420E2}"/>
                </a:ext>
              </a:extLst>
            </p:cNvPr>
            <p:cNvSpPr/>
            <p:nvPr/>
          </p:nvSpPr>
          <p:spPr>
            <a:xfrm rot="16200000">
              <a:off x="6215063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1ADD0449-1CB3-D4A8-EBBF-E92F99BEACA3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0FFA099D-198F-B77B-3CE7-FA3C03A94E27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4DE632B7-7F32-C2E3-0099-17E27A26748A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E33478DB-11EC-B0DA-2E72-491E594DF6D7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34333B50-4B88-0CA8-55D2-AAD634926173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09AC026E-BE1D-E5D5-F568-957EC0EE6E68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7792E977-63A9-8DBF-FBA3-FDA1408EE599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CD72E0C-A6DB-3C68-D783-262DBF2D8BA4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AD8F2BD6-1545-463E-59FB-2CAC3C779F2A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5832F3F5-C872-1564-C38F-B3D1B115F05B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43149D2F-57EC-6347-1988-F6BF98813954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E7979778-9559-FD64-E31F-6393567EACA3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A16CEC3C-E07A-2686-962B-C4687EA7ED3D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C1522198-DE55-FA26-B8B9-1E51D889F3E7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9CDAC3DB-2DA9-4647-AED5-4B53ACBB20F5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A81456A5-3DF6-C94C-1726-B1C2CAD69054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9E1ECE2F-164F-36C0-EFD2-0B9D3CB8A5A2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B9670F2A-0A0E-575E-3437-79D7994EA8AB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87F4B766-542B-8024-B1FE-FDD0FF9DB552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CF3A3CEF-AC10-2E4B-E5F4-D54F45675712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4F6530B-0A79-737D-C14A-785DB8BC0699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51D6AC9-C866-DEC2-1980-B69CF3B5E032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0776DBDD-B5F1-AC38-84CF-15464DCFAFAB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64893AF9-9182-89BA-C05B-3A3E8A80444E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63A0566D-21E0-0991-273A-3AF890133F43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F74430E4-B341-CF6F-4036-220F97A28189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68" name="Grafik 67">
            <a:extLst>
              <a:ext uri="{FF2B5EF4-FFF2-40B4-BE49-F238E27FC236}">
                <a16:creationId xmlns:a16="http://schemas.microsoft.com/office/drawing/2014/main" id="{9D0D49F2-8433-CA32-9782-6D74D50498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0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10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844674"/>
            <a:ext cx="10117138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673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288A12D-FB13-4872-B1A8-27479FFAA3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032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934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333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712"/>
            <a:ext cx="8784356" cy="5040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0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712"/>
            <a:ext cx="8784356" cy="5040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3337" y="1844675"/>
            <a:ext cx="5400675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99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9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59696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61166AEC-D55F-4A66-9BD7-4A5E1188AA6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11403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0BF7F625-91A6-48EE-83B1-06E56D5C728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28348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6062C617-361B-47CC-AB35-F3DCF8C107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047333BB-E722-46F2-833D-96CB1B13F7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810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FFDA62BA-92A9-4C94-A93F-6C0E3035BA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822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E40C4AD6-5A0C-42EC-91D8-14F0F244EE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834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4676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712"/>
            <a:ext cx="8784356" cy="5040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333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82851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712"/>
            <a:ext cx="8784356" cy="5040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3338" y="3141812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1844675"/>
            <a:ext cx="5400675" cy="10811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92533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ohne Bild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988" y="1664804"/>
            <a:ext cx="6408000" cy="1784282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5769292"/>
            <a:ext cx="5400674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3A0A4D8-656B-0BB7-3EC2-373E04EC6E50}"/>
              </a:ext>
            </a:extLst>
          </p:cNvPr>
          <p:cNvGrpSpPr/>
          <p:nvPr userDrawn="1"/>
        </p:nvGrpSpPr>
        <p:grpSpPr>
          <a:xfrm>
            <a:off x="7534876" y="1772816"/>
            <a:ext cx="4249755" cy="4243727"/>
            <a:chOff x="3514725" y="852488"/>
            <a:chExt cx="5162347" cy="5155024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150C4D71-E197-DB03-30B5-C53827FBDAFC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36B0F6B1-7161-CA5A-F735-4B67106E5D60}"/>
                </a:ext>
              </a:extLst>
            </p:cNvPr>
            <p:cNvSpPr/>
            <p:nvPr/>
          </p:nvSpPr>
          <p:spPr>
            <a:xfrm rot="16200000">
              <a:off x="6222290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C31079FC-C028-1724-F6B1-525E47A62687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CA8C367F-6C20-42FF-508B-EF6CDA14586C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348A1AED-915C-A507-D5DD-7381DA508C9D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60F68BD-2567-AD96-F537-9E43770F809B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B6D3EB79-D263-0AB1-A1EE-429F2BB14A6E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F83C971-AC20-D23A-CE7F-B79869CA79A4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44972A20-E111-07C5-C1F0-F54F356D494C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F87CD585-288D-EEC8-99F4-FF1F7E8191CE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53464A73-2A4B-11D1-C414-9B2E63ADAFF7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964A1628-3D59-38B9-CF6D-8998DC45C609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40D5634-FD7B-AA9E-92C1-FE77FD6D4686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C6EE583-F0CF-60A6-1941-436D1770FBF6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177612D-D979-7ABC-9267-A04827EA4AC5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B477B4CC-C9C4-0992-D5BA-BDED7DF4F752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4FFFEFE3-19D9-2299-71D4-D9440B294416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3638CC25-9ED3-C5DC-A1CD-61EEFCA82DC3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DA185071-CBA2-D7BC-3093-A1077EF1EBA3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B16C986-D831-E056-356A-3529698613FE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ADEA2E9B-B5D3-A0A7-6CD1-374232973438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AC2667A0-C78A-51F2-107D-EE22675C3B78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D83E6E36-9E48-058C-2CC5-468EB19DC7F9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464CB8F2-5A98-B504-5E24-2F546D595C4E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E1125FF-2DD5-6CBD-F5A2-B5FD6FB19DF2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096ABDE0-1ABA-6FDF-F4C0-C0041D99A285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9052CCA6-CB2D-7269-E5CE-6E7AB78C0353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A1CC189C-A2D9-48CE-0C11-4C398AD2BFBA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42" name="Rechteck 41">
            <a:extLst>
              <a:ext uri="{FF2B5EF4-FFF2-40B4-BE49-F238E27FC236}">
                <a16:creationId xmlns:a16="http://schemas.microsoft.com/office/drawing/2014/main" id="{485F726D-D34B-D771-E942-D877E0F7125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rgbClr val="322A26"/>
                </a:solidFill>
              </a:rPr>
              <a:t>Ein Unternehmen der EnBW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8AF3238-B5FB-5E0A-2BC1-4670DFF35B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0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5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406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tIns="0"/>
          <a:lstStyle>
            <a:lvl1pPr>
              <a:defRPr sz="28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536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F5BC50-F9E1-4E10-ACFC-C796DE11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3D9D73-D242-4783-BF88-25B8A0E92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6554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844675"/>
            <a:ext cx="8640762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8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hel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tx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3pPr>
            <a:lvl4pPr marL="810000">
              <a:defRPr sz="1600">
                <a:solidFill>
                  <a:schemeClr val="tx1"/>
                </a:solidFill>
              </a:defRPr>
            </a:lvl4pPr>
            <a:lvl5pPr marL="1080000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03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dun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bg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bg1"/>
                </a:solidFill>
              </a:defRPr>
            </a:lvl3pPr>
            <a:lvl4pPr marL="810000">
              <a:defRPr sz="1600">
                <a:solidFill>
                  <a:schemeClr val="bg1"/>
                </a:solidFill>
              </a:defRPr>
            </a:lvl4pPr>
            <a:lvl5pPr marL="1080000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E168D8DB-F796-4068-ADEF-C0F20B643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C1B128C-EBBB-455E-A39C-DBDBC5AAD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860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968576"/>
            <a:ext cx="3270329" cy="2052712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1744" y="3968576"/>
            <a:ext cx="3269518" cy="2052712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492896"/>
            <a:ext cx="6660120" cy="1424248"/>
          </a:xfrm>
        </p:spPr>
        <p:txBody>
          <a:bodyPr anchor="b" anchorCtr="0"/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51FC37B-19EB-B648-FFD2-22A87B3373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38475" y="404664"/>
            <a:ext cx="3046157" cy="663276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E00B93F-D8C3-D8E6-FD35-BF7BC76755BB}"/>
              </a:ext>
            </a:extLst>
          </p:cNvPr>
          <p:cNvGrpSpPr/>
          <p:nvPr userDrawn="1"/>
        </p:nvGrpSpPr>
        <p:grpSpPr>
          <a:xfrm>
            <a:off x="7534876" y="1772816"/>
            <a:ext cx="4249755" cy="4243727"/>
            <a:chOff x="3514725" y="852488"/>
            <a:chExt cx="5162347" cy="5155024"/>
          </a:xfrm>
        </p:grpSpPr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5BA5779D-58E2-B38D-4A79-4DF04CC7DC11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57D79DFF-0A8D-D747-B605-CDE45A2E11F1}"/>
                </a:ext>
              </a:extLst>
            </p:cNvPr>
            <p:cNvSpPr/>
            <p:nvPr/>
          </p:nvSpPr>
          <p:spPr>
            <a:xfrm rot="16200000">
              <a:off x="6222290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F7FC26BC-5213-4645-70D2-89AB55828E38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80D71EEB-37C9-308B-9A0E-EF63A10AEB37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8280A4EB-C0F3-5DFD-F4B4-98997A6F1CDB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B86DEA2E-E3FB-6BFF-687E-55FE1B9BF6DE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D4D7553-72FD-F9A7-9B60-37031B419654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96785BFE-1306-91B0-4134-CE7C4DEB3C1C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A41477E-0CBD-531A-2397-5109833C4FEA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1C66C413-2F12-E493-7238-C29E4C6B53EE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C1891C8-50A8-6D3A-7AE7-19752DBA40FE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C23D9C0-1A75-00F6-685C-59535CA04939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7EE4DAD8-828C-D72F-F8B8-B45FA4F10F14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280198E-22AA-7056-5B5D-4176BB45BED5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6E0621B5-8406-EE42-E9E9-EA13A0D7558C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4CB0B89-C68A-0EB1-3890-05AB0E81A154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A482D076-4BF0-43AA-D26B-A595C1250E57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ACF49B1B-6B78-6CC8-5859-0FE5F57494D5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15CAAE2-85D9-5B76-4E99-C11D90E09671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9172AB1-49CC-B3B2-0E2D-52FAE1A1134D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45C9356A-2119-1F5C-283C-D3DD4C58CEE6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BF38944F-A658-265B-7129-87BE16D1DA71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74A18C4E-8725-30D9-03BE-7EDC1765BBCB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188F9427-3151-BAAE-F50E-12CB7E797345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05F69E1B-B7A2-31B1-6AC0-7C0F52352D40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34362F0E-3283-0952-C949-FE6B67476F99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EC760088-EA8B-0FB1-1416-FF480DAF39B0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864C0D05-10EB-4F42-1D4A-A4B7CCCC8222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D869A6FC-5520-574A-B316-2C59384AAC5F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r"/>
            <a:r>
              <a:rPr lang="de-DE" sz="1100" dirty="0">
                <a:solidFill>
                  <a:srgbClr val="1195EB"/>
                </a:solidFill>
              </a:rPr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356306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968576"/>
            <a:ext cx="3270329" cy="2052712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1744" y="3968576"/>
            <a:ext cx="3269518" cy="2052712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492896"/>
            <a:ext cx="6660120" cy="1424248"/>
          </a:xfrm>
        </p:spPr>
        <p:txBody>
          <a:bodyPr anchor="b" anchorCtr="0"/>
          <a:lstStyle>
            <a:lvl1pPr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Vielen Dank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E00B93F-D8C3-D8E6-FD35-BF7BC76755BB}"/>
              </a:ext>
            </a:extLst>
          </p:cNvPr>
          <p:cNvGrpSpPr/>
          <p:nvPr userDrawn="1"/>
        </p:nvGrpSpPr>
        <p:grpSpPr>
          <a:xfrm>
            <a:off x="7534876" y="1772816"/>
            <a:ext cx="4249755" cy="4243727"/>
            <a:chOff x="3514725" y="852488"/>
            <a:chExt cx="5162347" cy="5155024"/>
          </a:xfrm>
        </p:grpSpPr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5BA5779D-58E2-B38D-4A79-4DF04CC7DC11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57D79DFF-0A8D-D747-B605-CDE45A2E11F1}"/>
                </a:ext>
              </a:extLst>
            </p:cNvPr>
            <p:cNvSpPr/>
            <p:nvPr/>
          </p:nvSpPr>
          <p:spPr>
            <a:xfrm rot="16200000">
              <a:off x="6222290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F7FC26BC-5213-4645-70D2-89AB55828E38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80D71EEB-37C9-308B-9A0E-EF63A10AEB37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8280A4EB-C0F3-5DFD-F4B4-98997A6F1CDB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B86DEA2E-E3FB-6BFF-687E-55FE1B9BF6DE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D4D7553-72FD-F9A7-9B60-37031B419654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96785BFE-1306-91B0-4134-CE7C4DEB3C1C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A41477E-0CBD-531A-2397-5109833C4FEA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1C66C413-2F12-E493-7238-C29E4C6B53EE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C1891C8-50A8-6D3A-7AE7-19752DBA40FE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C23D9C0-1A75-00F6-685C-59535CA04939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7EE4DAD8-828C-D72F-F8B8-B45FA4F10F14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280198E-22AA-7056-5B5D-4176BB45BED5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6E0621B5-8406-EE42-E9E9-EA13A0D7558C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4CB0B89-C68A-0EB1-3890-05AB0E81A154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A482D076-4BF0-43AA-D26B-A595C1250E57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ACF49B1B-6B78-6CC8-5859-0FE5F57494D5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15CAAE2-85D9-5B76-4E99-C11D90E09671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9172AB1-49CC-B3B2-0E2D-52FAE1A1134D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45C9356A-2119-1F5C-283C-D3DD4C58CEE6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BF38944F-A658-265B-7129-87BE16D1DA71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74A18C4E-8725-30D9-03BE-7EDC1765BBCB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188F9427-3151-BAAE-F50E-12CB7E797345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05F69E1B-B7A2-31B1-6AC0-7C0F52352D40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34362F0E-3283-0952-C949-FE6B67476F99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EC760088-EA8B-0FB1-1416-FF480DAF39B0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864C0D05-10EB-4F42-1D4A-A4B7CCCC8222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D869A6FC-5520-574A-B316-2C59384AAC5F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chemeClr val="tx1"/>
                </a:solidFill>
              </a:rPr>
              <a:t>Ein Unternehmen der EnBW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FA24B211-9DD6-85BC-81A7-D2A284DB45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42499" y="404664"/>
            <a:ext cx="3042133" cy="6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686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tiefenblau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000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175972AD-FD90-049F-F161-CC84A11A0747}"/>
              </a:ext>
            </a:extLst>
          </p:cNvPr>
          <p:cNvSpPr/>
          <p:nvPr userDrawn="1"/>
        </p:nvSpPr>
        <p:spPr>
          <a:xfrm rot="5400000" flipH="1">
            <a:off x="407988" y="404813"/>
            <a:ext cx="1848989" cy="1848989"/>
          </a:xfrm>
          <a:custGeom>
            <a:avLst/>
            <a:gdLst>
              <a:gd name="connsiteX0" fmla="*/ 2454783 w 2454783"/>
              <a:gd name="connsiteY0" fmla="*/ 1227392 h 2454783"/>
              <a:gd name="connsiteX1" fmla="*/ 1227392 w 2454783"/>
              <a:gd name="connsiteY1" fmla="*/ 2454783 h 2454783"/>
              <a:gd name="connsiteX2" fmla="*/ 1 w 2454783"/>
              <a:gd name="connsiteY2" fmla="*/ 1227392 h 2454783"/>
              <a:gd name="connsiteX3" fmla="*/ 1227392 w 2454783"/>
              <a:gd name="connsiteY3" fmla="*/ 0 h 2454783"/>
              <a:gd name="connsiteX4" fmla="*/ 2454783 w 2454783"/>
              <a:gd name="connsiteY4" fmla="*/ 1227392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4783" h="2454783">
                <a:moveTo>
                  <a:pt x="2454783" y="1227392"/>
                </a:moveTo>
                <a:cubicBezTo>
                  <a:pt x="2454783" y="1905261"/>
                  <a:pt x="1905261" y="2454783"/>
                  <a:pt x="1227392" y="2454783"/>
                </a:cubicBezTo>
                <a:cubicBezTo>
                  <a:pt x="549522" y="2454783"/>
                  <a:pt x="1" y="1905261"/>
                  <a:pt x="1" y="1227392"/>
                </a:cubicBezTo>
                <a:cubicBezTo>
                  <a:pt x="1" y="549522"/>
                  <a:pt x="549523" y="0"/>
                  <a:pt x="1227392" y="0"/>
                </a:cubicBezTo>
                <a:cubicBezTo>
                  <a:pt x="1905262" y="0"/>
                  <a:pt x="2454783" y="549523"/>
                  <a:pt x="2454783" y="122739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94A199B4-2CBF-1736-9EB4-D59C0A967DD9}"/>
              </a:ext>
            </a:extLst>
          </p:cNvPr>
          <p:cNvGrpSpPr/>
          <p:nvPr userDrawn="1"/>
        </p:nvGrpSpPr>
        <p:grpSpPr>
          <a:xfrm flipH="1">
            <a:off x="2563002" y="487812"/>
            <a:ext cx="1683066" cy="1682991"/>
            <a:chOff x="2545959" y="2479024"/>
            <a:chExt cx="1691059" cy="1690984"/>
          </a:xfrm>
          <a:solidFill>
            <a:schemeClr val="accent4"/>
          </a:solidFill>
        </p:grpSpPr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3DE869BB-8322-D89E-D95E-EE31569311A9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4A4A9FDC-0E15-1B7E-BCD0-62732DFE77D3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DB1941CA-4D3D-0595-B8A3-BE587AF2728A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7ECF0C93-03D0-BCA1-C2C5-7518DD7C47EC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A8F06A02-BF0D-F37A-CE72-CF678672205E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26CAD32-607F-447D-435B-A554D0FE1CE4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381E972-4EA6-45E7-849E-EDF45119DAF4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249801EC-3331-0A62-C820-1071C29A2D33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3FACC4B-FFC2-ECC9-CCF3-04459FBDECE5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E9381E77-072F-B4CA-F26D-4746ADA536FB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7C79F8D-EC80-CEE9-0CC1-A00E07FCFA46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0AC5D24D-F792-7138-070D-40A161AE107C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B60A2E5E-883D-0E64-4220-5CD4AB73509F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6E843998-D1F4-81F7-81F6-913C81C13C77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BF1C9602-F81C-7A74-CAEF-A6C2BAB58D16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4F8B0C56-FCEB-9290-7502-34A4EF5706E5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982D63A6-6B5A-887B-9072-725544096E86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5604762D-6B71-EC13-47EC-1DF30E8AE776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F018F543-1B36-EE1A-54D0-D24D5405CD53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BE3E4927-FBFF-4FB7-49C0-F61F0D68BB2B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19444F1F-08D8-0CD0-928B-3FF43D7A1F3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D1A805F-8991-B486-3CE4-F6BFA619F55E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046AE7E7-2984-778D-51C5-9574D8821F3B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5C423BA-10B1-88F3-52C9-55C47D0E907F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76F9FB3-BDC1-9836-2CC7-C875CD07126A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rgbClr val="1195EB"/>
                </a:solidFill>
              </a:rPr>
              <a:t>Ein Unternehmen der EnBW</a:t>
            </a:r>
          </a:p>
        </p:txBody>
      </p:sp>
      <p:pic>
        <p:nvPicPr>
          <p:cNvPr id="64" name="Grafik 63">
            <a:extLst>
              <a:ext uri="{FF2B5EF4-FFF2-40B4-BE49-F238E27FC236}">
                <a16:creationId xmlns:a16="http://schemas.microsoft.com/office/drawing/2014/main" id="{B684A60F-6CB9-F8F9-9F34-DAE666A035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4" cy="565200"/>
          </a:xfrm>
          <a:prstGeom prst="rect">
            <a:avLst/>
          </a:prstGeom>
        </p:spPr>
      </p:pic>
      <p:sp>
        <p:nvSpPr>
          <p:cNvPr id="69" name="Bildplatzhalter 68">
            <a:extLst>
              <a:ext uri="{FF2B5EF4-FFF2-40B4-BE49-F238E27FC236}">
                <a16:creationId xmlns:a16="http://schemas.microsoft.com/office/drawing/2014/main" id="{1E25BC39-47A6-092D-614D-F8A564A98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89" y="2498062"/>
            <a:ext cx="3955275" cy="3955275"/>
          </a:xfrm>
          <a:custGeom>
            <a:avLst/>
            <a:gdLst>
              <a:gd name="connsiteX0" fmla="*/ 3955275 w 3955275"/>
              <a:gd name="connsiteY0" fmla="*/ 0 h 3955275"/>
              <a:gd name="connsiteX1" fmla="*/ 3955275 w 3955275"/>
              <a:gd name="connsiteY1" fmla="*/ 3955275 h 3955275"/>
              <a:gd name="connsiteX2" fmla="*/ 0 w 3955275"/>
              <a:gd name="connsiteY2" fmla="*/ 3955275 h 3955275"/>
              <a:gd name="connsiteX3" fmla="*/ 3955275 w 3955275"/>
              <a:gd name="connsiteY3" fmla="*/ 0 h 395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5275" h="3955275">
                <a:moveTo>
                  <a:pt x="3955275" y="0"/>
                </a:moveTo>
                <a:lnTo>
                  <a:pt x="3955275" y="3955275"/>
                </a:lnTo>
                <a:lnTo>
                  <a:pt x="0" y="3955275"/>
                </a:lnTo>
                <a:cubicBezTo>
                  <a:pt x="0" y="1770759"/>
                  <a:pt x="1770911" y="0"/>
                  <a:pt x="3955275" y="0"/>
                </a:cubicBez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478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warmgrau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000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175972AD-FD90-049F-F161-CC84A11A0747}"/>
              </a:ext>
            </a:extLst>
          </p:cNvPr>
          <p:cNvSpPr/>
          <p:nvPr userDrawn="1"/>
        </p:nvSpPr>
        <p:spPr>
          <a:xfrm rot="5400000" flipH="1">
            <a:off x="407988" y="404813"/>
            <a:ext cx="1848989" cy="1848989"/>
          </a:xfrm>
          <a:custGeom>
            <a:avLst/>
            <a:gdLst>
              <a:gd name="connsiteX0" fmla="*/ 2454783 w 2454783"/>
              <a:gd name="connsiteY0" fmla="*/ 1227392 h 2454783"/>
              <a:gd name="connsiteX1" fmla="*/ 1227392 w 2454783"/>
              <a:gd name="connsiteY1" fmla="*/ 2454783 h 2454783"/>
              <a:gd name="connsiteX2" fmla="*/ 1 w 2454783"/>
              <a:gd name="connsiteY2" fmla="*/ 1227392 h 2454783"/>
              <a:gd name="connsiteX3" fmla="*/ 1227392 w 2454783"/>
              <a:gd name="connsiteY3" fmla="*/ 0 h 2454783"/>
              <a:gd name="connsiteX4" fmla="*/ 2454783 w 2454783"/>
              <a:gd name="connsiteY4" fmla="*/ 1227392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4783" h="2454783">
                <a:moveTo>
                  <a:pt x="2454783" y="1227392"/>
                </a:moveTo>
                <a:cubicBezTo>
                  <a:pt x="2454783" y="1905261"/>
                  <a:pt x="1905261" y="2454783"/>
                  <a:pt x="1227392" y="2454783"/>
                </a:cubicBezTo>
                <a:cubicBezTo>
                  <a:pt x="549522" y="2454783"/>
                  <a:pt x="1" y="1905261"/>
                  <a:pt x="1" y="1227392"/>
                </a:cubicBezTo>
                <a:cubicBezTo>
                  <a:pt x="1" y="549522"/>
                  <a:pt x="549523" y="0"/>
                  <a:pt x="1227392" y="0"/>
                </a:cubicBezTo>
                <a:cubicBezTo>
                  <a:pt x="1905262" y="0"/>
                  <a:pt x="2454783" y="549523"/>
                  <a:pt x="2454783" y="122739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94A199B4-2CBF-1736-9EB4-D59C0A967DD9}"/>
              </a:ext>
            </a:extLst>
          </p:cNvPr>
          <p:cNvGrpSpPr/>
          <p:nvPr userDrawn="1"/>
        </p:nvGrpSpPr>
        <p:grpSpPr>
          <a:xfrm flipH="1">
            <a:off x="2563002" y="487812"/>
            <a:ext cx="1683066" cy="1682991"/>
            <a:chOff x="2545959" y="2479024"/>
            <a:chExt cx="1691059" cy="1690984"/>
          </a:xfrm>
          <a:solidFill>
            <a:schemeClr val="accent4"/>
          </a:solidFill>
        </p:grpSpPr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3DE869BB-8322-D89E-D95E-EE31569311A9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4A4A9FDC-0E15-1B7E-BCD0-62732DFE77D3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DB1941CA-4D3D-0595-B8A3-BE587AF2728A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7ECF0C93-03D0-BCA1-C2C5-7518DD7C47EC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A8F06A02-BF0D-F37A-CE72-CF678672205E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26CAD32-607F-447D-435B-A554D0FE1CE4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381E972-4EA6-45E7-849E-EDF45119DAF4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249801EC-3331-0A62-C820-1071C29A2D33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3FACC4B-FFC2-ECC9-CCF3-04459FBDECE5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E9381E77-072F-B4CA-F26D-4746ADA536FB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7C79F8D-EC80-CEE9-0CC1-A00E07FCFA46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0AC5D24D-F792-7138-070D-40A161AE107C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B60A2E5E-883D-0E64-4220-5CD4AB73509F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6E843998-D1F4-81F7-81F6-913C81C13C77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BF1C9602-F81C-7A74-CAEF-A6C2BAB58D16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4F8B0C56-FCEB-9290-7502-34A4EF5706E5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982D63A6-6B5A-887B-9072-725544096E86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5604762D-6B71-EC13-47EC-1DF30E8AE776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F018F543-1B36-EE1A-54D0-D24D5405CD53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BE3E4927-FBFF-4FB7-49C0-F61F0D68BB2B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19444F1F-08D8-0CD0-928B-3FF43D7A1F3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D1A805F-8991-B486-3CE4-F6BFA619F55E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046AE7E7-2984-778D-51C5-9574D8821F3B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5C423BA-10B1-88F3-52C9-55C47D0E907F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76F9FB3-BDC1-9836-2CC7-C875CD07126A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chemeClr val="tx1"/>
                </a:solidFill>
              </a:rPr>
              <a:t>Ein Unternehmen der EnBW</a:t>
            </a:r>
          </a:p>
        </p:txBody>
      </p:sp>
      <p:sp>
        <p:nvSpPr>
          <p:cNvPr id="69" name="Bildplatzhalter 68">
            <a:extLst>
              <a:ext uri="{FF2B5EF4-FFF2-40B4-BE49-F238E27FC236}">
                <a16:creationId xmlns:a16="http://schemas.microsoft.com/office/drawing/2014/main" id="{1E25BC39-47A6-092D-614D-F8A564A98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89" y="2498062"/>
            <a:ext cx="3955275" cy="3955275"/>
          </a:xfrm>
          <a:custGeom>
            <a:avLst/>
            <a:gdLst>
              <a:gd name="connsiteX0" fmla="*/ 3955275 w 3955275"/>
              <a:gd name="connsiteY0" fmla="*/ 0 h 3955275"/>
              <a:gd name="connsiteX1" fmla="*/ 3955275 w 3955275"/>
              <a:gd name="connsiteY1" fmla="*/ 3955275 h 3955275"/>
              <a:gd name="connsiteX2" fmla="*/ 0 w 3955275"/>
              <a:gd name="connsiteY2" fmla="*/ 3955275 h 3955275"/>
              <a:gd name="connsiteX3" fmla="*/ 3955275 w 3955275"/>
              <a:gd name="connsiteY3" fmla="*/ 0 h 395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5275" h="3955275">
                <a:moveTo>
                  <a:pt x="3955275" y="0"/>
                </a:moveTo>
                <a:lnTo>
                  <a:pt x="3955275" y="3955275"/>
                </a:lnTo>
                <a:lnTo>
                  <a:pt x="0" y="3955275"/>
                </a:lnTo>
                <a:cubicBezTo>
                  <a:pt x="0" y="1770759"/>
                  <a:pt x="1770911" y="0"/>
                  <a:pt x="3955275" y="0"/>
                </a:cubicBez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3C87739-D733-D283-4CEF-A4DC7920AE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0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431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tiefenblau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505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rgbClr val="1195EB"/>
                </a:solidFill>
              </a:rPr>
              <a:t>Ein Unternehmen der EnBW</a:t>
            </a:r>
          </a:p>
        </p:txBody>
      </p:sp>
      <p:pic>
        <p:nvPicPr>
          <p:cNvPr id="64" name="Grafik 63">
            <a:extLst>
              <a:ext uri="{FF2B5EF4-FFF2-40B4-BE49-F238E27FC236}">
                <a16:creationId xmlns:a16="http://schemas.microsoft.com/office/drawing/2014/main" id="{B684A60F-6CB9-F8F9-9F34-DAE666A035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4" cy="565200"/>
          </a:xfrm>
          <a:prstGeom prst="rect">
            <a:avLst/>
          </a:prstGeom>
        </p:spPr>
      </p:pic>
      <p:sp>
        <p:nvSpPr>
          <p:cNvPr id="92" name="Bildplatzhalter 91">
            <a:extLst>
              <a:ext uri="{FF2B5EF4-FFF2-40B4-BE49-F238E27FC236}">
                <a16:creationId xmlns:a16="http://schemas.microsoft.com/office/drawing/2014/main" id="{CB26E34B-6C50-933D-5A96-C8046EC474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369" y="404813"/>
            <a:ext cx="3977913" cy="3977915"/>
          </a:xfrm>
          <a:custGeom>
            <a:avLst/>
            <a:gdLst>
              <a:gd name="connsiteX0" fmla="*/ 0 w 3977913"/>
              <a:gd name="connsiteY0" fmla="*/ 0 h 3977915"/>
              <a:gd name="connsiteX1" fmla="*/ 1988956 w 3977913"/>
              <a:gd name="connsiteY1" fmla="*/ 0 h 3977915"/>
              <a:gd name="connsiteX2" fmla="*/ 3977913 w 3977913"/>
              <a:gd name="connsiteY2" fmla="*/ 1988959 h 3977915"/>
              <a:gd name="connsiteX3" fmla="*/ 1988956 w 3977913"/>
              <a:gd name="connsiteY3" fmla="*/ 3977915 h 3977915"/>
              <a:gd name="connsiteX4" fmla="*/ 0 w 3977913"/>
              <a:gd name="connsiteY4" fmla="*/ 3977915 h 3977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77913" h="3977915">
                <a:moveTo>
                  <a:pt x="0" y="0"/>
                </a:moveTo>
                <a:lnTo>
                  <a:pt x="1988956" y="0"/>
                </a:lnTo>
                <a:cubicBezTo>
                  <a:pt x="3087468" y="0"/>
                  <a:pt x="3977913" y="890446"/>
                  <a:pt x="3977913" y="1988959"/>
                </a:cubicBezTo>
                <a:cubicBezTo>
                  <a:pt x="3977913" y="3087469"/>
                  <a:pt x="3087468" y="3977915"/>
                  <a:pt x="1988956" y="3977915"/>
                </a:cubicBezTo>
                <a:lnTo>
                  <a:pt x="0" y="3977915"/>
                </a:ln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24C419AB-CE33-ED15-878C-4964E33591EE}"/>
              </a:ext>
            </a:extLst>
          </p:cNvPr>
          <p:cNvSpPr/>
          <p:nvPr/>
        </p:nvSpPr>
        <p:spPr>
          <a:xfrm flipH="1">
            <a:off x="2425831" y="4511210"/>
            <a:ext cx="1941977" cy="1941977"/>
          </a:xfrm>
          <a:custGeom>
            <a:avLst/>
            <a:gdLst>
              <a:gd name="connsiteX0" fmla="*/ 2454783 w 2454783"/>
              <a:gd name="connsiteY0" fmla="*/ 2454783 h 2454783"/>
              <a:gd name="connsiteX1" fmla="*/ 0 w 2454783"/>
              <a:gd name="connsiteY1" fmla="*/ 0 h 2454783"/>
              <a:gd name="connsiteX2" fmla="*/ 0 w 2454783"/>
              <a:gd name="connsiteY2" fmla="*/ 2454783 h 2454783"/>
              <a:gd name="connsiteX3" fmla="*/ 2454783 w 2454783"/>
              <a:gd name="connsiteY3" fmla="*/ 2454783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4783" h="2454783">
                <a:moveTo>
                  <a:pt x="2454783" y="2454783"/>
                </a:moveTo>
                <a:cubicBezTo>
                  <a:pt x="2454783" y="1098995"/>
                  <a:pt x="1355693" y="0"/>
                  <a:pt x="0" y="0"/>
                </a:cubicBezTo>
                <a:lnTo>
                  <a:pt x="0" y="2454783"/>
                </a:lnTo>
                <a:lnTo>
                  <a:pt x="2454783" y="2454783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A77CBFB3-EEF3-E8E7-CD93-E61F32393D00}"/>
              </a:ext>
            </a:extLst>
          </p:cNvPr>
          <p:cNvGrpSpPr/>
          <p:nvPr/>
        </p:nvGrpSpPr>
        <p:grpSpPr>
          <a:xfrm>
            <a:off x="509675" y="4653720"/>
            <a:ext cx="1683066" cy="1682991"/>
            <a:chOff x="2545959" y="2479024"/>
            <a:chExt cx="1691059" cy="1690984"/>
          </a:xfrm>
        </p:grpSpPr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6FEBD378-F742-7903-6023-03459FD73A53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DB4F71D5-E7A8-2521-9C56-7976B8BF607C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9E65943E-BC0F-67E5-79CD-F6B2FE258ADB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671DDDC4-EB62-1A1D-D5AC-F74BD82DDEDA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C2D355EC-2774-D159-8458-546337C6A063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2F014647-2ED6-80CE-DE59-ED25B67FA9C5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96ACB3B4-5101-08E6-2BC8-0DEBD7597F3C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28F2EF28-976A-D123-949B-85CCB1130D28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CB61CDB8-249E-2B21-7F22-8511F6AA3A68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53C5EC68-6C06-79DF-282E-51B7D46067CE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C333FC2E-149F-4F0E-87DA-C9B6C2A3516A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259EE91D-6D71-484E-538D-1174D93A2CB2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6E401CC5-B7A2-127C-15E9-4563D86DA2C9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0C21A192-EE8E-6B5C-E9F3-6189AA3789DB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51019101-32EF-6874-3E5B-6B93302132CA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03D9F9E9-AD58-8298-6C75-4F9F6B0B5490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1EA5DC3B-8F7F-5B25-3F9C-A4960C9655D8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DC39D72C-99CF-8F18-D460-E6CE47C29837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D582E9B7-EE15-3D7A-4BE9-0FB7F1A6CFC7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84ED4810-F534-DD6B-F432-1CFC93BB4701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830ECD43-BD55-CD9A-C618-7EC00DBFD7A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C2C48551-9331-9343-EA00-6130F124280C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BC71C079-C7EA-4DD5-B31F-F71A12C33A53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8DC724BD-57CE-6D05-9281-372660E6ED3C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BF366906-460F-5F24-49BE-66D9AA5E012D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981994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warmgrau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505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chemeClr val="tx1"/>
                </a:solidFill>
              </a:rPr>
              <a:t>Ein Unternehmen der EnBW</a:t>
            </a:r>
          </a:p>
        </p:txBody>
      </p:sp>
      <p:sp>
        <p:nvSpPr>
          <p:cNvPr id="92" name="Bildplatzhalter 91">
            <a:extLst>
              <a:ext uri="{FF2B5EF4-FFF2-40B4-BE49-F238E27FC236}">
                <a16:creationId xmlns:a16="http://schemas.microsoft.com/office/drawing/2014/main" id="{CB26E34B-6C50-933D-5A96-C8046EC474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369" y="404813"/>
            <a:ext cx="3977913" cy="3977915"/>
          </a:xfrm>
          <a:custGeom>
            <a:avLst/>
            <a:gdLst>
              <a:gd name="connsiteX0" fmla="*/ 0 w 3977913"/>
              <a:gd name="connsiteY0" fmla="*/ 0 h 3977915"/>
              <a:gd name="connsiteX1" fmla="*/ 1988956 w 3977913"/>
              <a:gd name="connsiteY1" fmla="*/ 0 h 3977915"/>
              <a:gd name="connsiteX2" fmla="*/ 3977913 w 3977913"/>
              <a:gd name="connsiteY2" fmla="*/ 1988959 h 3977915"/>
              <a:gd name="connsiteX3" fmla="*/ 1988956 w 3977913"/>
              <a:gd name="connsiteY3" fmla="*/ 3977915 h 3977915"/>
              <a:gd name="connsiteX4" fmla="*/ 0 w 3977913"/>
              <a:gd name="connsiteY4" fmla="*/ 3977915 h 3977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77913" h="3977915">
                <a:moveTo>
                  <a:pt x="0" y="0"/>
                </a:moveTo>
                <a:lnTo>
                  <a:pt x="1988956" y="0"/>
                </a:lnTo>
                <a:cubicBezTo>
                  <a:pt x="3087468" y="0"/>
                  <a:pt x="3977913" y="890446"/>
                  <a:pt x="3977913" y="1988959"/>
                </a:cubicBezTo>
                <a:cubicBezTo>
                  <a:pt x="3977913" y="3087469"/>
                  <a:pt x="3087468" y="3977915"/>
                  <a:pt x="1988956" y="3977915"/>
                </a:cubicBezTo>
                <a:lnTo>
                  <a:pt x="0" y="3977915"/>
                </a:ln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24C419AB-CE33-ED15-878C-4964E33591EE}"/>
              </a:ext>
            </a:extLst>
          </p:cNvPr>
          <p:cNvSpPr/>
          <p:nvPr/>
        </p:nvSpPr>
        <p:spPr>
          <a:xfrm flipH="1">
            <a:off x="2425831" y="4511210"/>
            <a:ext cx="1941977" cy="1941977"/>
          </a:xfrm>
          <a:custGeom>
            <a:avLst/>
            <a:gdLst>
              <a:gd name="connsiteX0" fmla="*/ 2454783 w 2454783"/>
              <a:gd name="connsiteY0" fmla="*/ 2454783 h 2454783"/>
              <a:gd name="connsiteX1" fmla="*/ 0 w 2454783"/>
              <a:gd name="connsiteY1" fmla="*/ 0 h 2454783"/>
              <a:gd name="connsiteX2" fmla="*/ 0 w 2454783"/>
              <a:gd name="connsiteY2" fmla="*/ 2454783 h 2454783"/>
              <a:gd name="connsiteX3" fmla="*/ 2454783 w 2454783"/>
              <a:gd name="connsiteY3" fmla="*/ 2454783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4783" h="2454783">
                <a:moveTo>
                  <a:pt x="2454783" y="2454783"/>
                </a:moveTo>
                <a:cubicBezTo>
                  <a:pt x="2454783" y="1098995"/>
                  <a:pt x="1355693" y="0"/>
                  <a:pt x="0" y="0"/>
                </a:cubicBezTo>
                <a:lnTo>
                  <a:pt x="0" y="2454783"/>
                </a:lnTo>
                <a:lnTo>
                  <a:pt x="2454783" y="2454783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A77CBFB3-EEF3-E8E7-CD93-E61F32393D00}"/>
              </a:ext>
            </a:extLst>
          </p:cNvPr>
          <p:cNvGrpSpPr/>
          <p:nvPr/>
        </p:nvGrpSpPr>
        <p:grpSpPr>
          <a:xfrm>
            <a:off x="509675" y="4653720"/>
            <a:ext cx="1683066" cy="1682991"/>
            <a:chOff x="2545959" y="2479024"/>
            <a:chExt cx="1691059" cy="1690984"/>
          </a:xfrm>
        </p:grpSpPr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6FEBD378-F742-7903-6023-03459FD73A53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DB4F71D5-E7A8-2521-9C56-7976B8BF607C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9E65943E-BC0F-67E5-79CD-F6B2FE258ADB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671DDDC4-EB62-1A1D-D5AC-F74BD82DDEDA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C2D355EC-2774-D159-8458-546337C6A063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2F014647-2ED6-80CE-DE59-ED25B67FA9C5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96ACB3B4-5101-08E6-2BC8-0DEBD7597F3C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28F2EF28-976A-D123-949B-85CCB1130D28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CB61CDB8-249E-2B21-7F22-8511F6AA3A68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53C5EC68-6C06-79DF-282E-51B7D46067CE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C333FC2E-149F-4F0E-87DA-C9B6C2A3516A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259EE91D-6D71-484E-538D-1174D93A2CB2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6E401CC5-B7A2-127C-15E9-4563D86DA2C9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0C21A192-EE8E-6B5C-E9F3-6189AA3789DB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51019101-32EF-6874-3E5B-6B93302132CA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03D9F9E9-AD58-8298-6C75-4F9F6B0B5490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1EA5DC3B-8F7F-5B25-3F9C-A4960C9655D8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DC39D72C-99CF-8F18-D460-E6CE47C29837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D582E9B7-EE15-3D7A-4BE9-0FB7F1A6CFC7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84ED4810-F534-DD6B-F432-1CFC93BB4701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830ECD43-BD55-CD9A-C618-7EC00DBFD7A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C2C48551-9331-9343-EA00-6130F124280C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BC71C079-C7EA-4DD5-B31F-F71A12C33A53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8DC724BD-57CE-6D05-9281-372660E6ED3C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BF366906-460F-5F24-49BE-66D9AA5E012D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F6042539-2267-AAE1-61A5-708283B4F0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0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28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tiefenblau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000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175972AD-FD90-049F-F161-CC84A11A0747}"/>
              </a:ext>
            </a:extLst>
          </p:cNvPr>
          <p:cNvSpPr/>
          <p:nvPr userDrawn="1"/>
        </p:nvSpPr>
        <p:spPr>
          <a:xfrm rot="5400000" flipH="1">
            <a:off x="407988" y="404813"/>
            <a:ext cx="1848989" cy="1848989"/>
          </a:xfrm>
          <a:custGeom>
            <a:avLst/>
            <a:gdLst>
              <a:gd name="connsiteX0" fmla="*/ 2454783 w 2454783"/>
              <a:gd name="connsiteY0" fmla="*/ 1227392 h 2454783"/>
              <a:gd name="connsiteX1" fmla="*/ 1227392 w 2454783"/>
              <a:gd name="connsiteY1" fmla="*/ 2454783 h 2454783"/>
              <a:gd name="connsiteX2" fmla="*/ 1 w 2454783"/>
              <a:gd name="connsiteY2" fmla="*/ 1227392 h 2454783"/>
              <a:gd name="connsiteX3" fmla="*/ 1227392 w 2454783"/>
              <a:gd name="connsiteY3" fmla="*/ 0 h 2454783"/>
              <a:gd name="connsiteX4" fmla="*/ 2454783 w 2454783"/>
              <a:gd name="connsiteY4" fmla="*/ 1227392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4783" h="2454783">
                <a:moveTo>
                  <a:pt x="2454783" y="1227392"/>
                </a:moveTo>
                <a:cubicBezTo>
                  <a:pt x="2454783" y="1905261"/>
                  <a:pt x="1905261" y="2454783"/>
                  <a:pt x="1227392" y="2454783"/>
                </a:cubicBezTo>
                <a:cubicBezTo>
                  <a:pt x="549522" y="2454783"/>
                  <a:pt x="1" y="1905261"/>
                  <a:pt x="1" y="1227392"/>
                </a:cubicBezTo>
                <a:cubicBezTo>
                  <a:pt x="1" y="549522"/>
                  <a:pt x="549523" y="0"/>
                  <a:pt x="1227392" y="0"/>
                </a:cubicBezTo>
                <a:cubicBezTo>
                  <a:pt x="1905262" y="0"/>
                  <a:pt x="2454783" y="549523"/>
                  <a:pt x="2454783" y="122739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94A199B4-2CBF-1736-9EB4-D59C0A967DD9}"/>
              </a:ext>
            </a:extLst>
          </p:cNvPr>
          <p:cNvGrpSpPr/>
          <p:nvPr userDrawn="1"/>
        </p:nvGrpSpPr>
        <p:grpSpPr>
          <a:xfrm flipH="1">
            <a:off x="2563002" y="487812"/>
            <a:ext cx="1683066" cy="1682991"/>
            <a:chOff x="2545959" y="2479024"/>
            <a:chExt cx="1691059" cy="1690984"/>
          </a:xfrm>
          <a:solidFill>
            <a:schemeClr val="accent4"/>
          </a:solidFill>
        </p:grpSpPr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3DE869BB-8322-D89E-D95E-EE31569311A9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4A4A9FDC-0E15-1B7E-BCD0-62732DFE77D3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DB1941CA-4D3D-0595-B8A3-BE587AF2728A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7ECF0C93-03D0-BCA1-C2C5-7518DD7C47EC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A8F06A02-BF0D-F37A-CE72-CF678672205E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26CAD32-607F-447D-435B-A554D0FE1CE4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381E972-4EA6-45E7-849E-EDF45119DAF4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249801EC-3331-0A62-C820-1071C29A2D33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3FACC4B-FFC2-ECC9-CCF3-04459FBDECE5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E9381E77-072F-B4CA-F26D-4746ADA536FB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7C79F8D-EC80-CEE9-0CC1-A00E07FCFA46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0AC5D24D-F792-7138-070D-40A161AE107C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B60A2E5E-883D-0E64-4220-5CD4AB73509F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6E843998-D1F4-81F7-81F6-913C81C13C77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BF1C9602-F81C-7A74-CAEF-A6C2BAB58D16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4F8B0C56-FCEB-9290-7502-34A4EF5706E5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982D63A6-6B5A-887B-9072-725544096E86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5604762D-6B71-EC13-47EC-1DF30E8AE776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F018F543-1B36-EE1A-54D0-D24D5405CD53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BE3E4927-FBFF-4FB7-49C0-F61F0D68BB2B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19444F1F-08D8-0CD0-928B-3FF43D7A1F3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D1A805F-8991-B486-3CE4-F6BFA619F55E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046AE7E7-2984-778D-51C5-9574D8821F3B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5C423BA-10B1-88F3-52C9-55C47D0E907F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76F9FB3-BDC1-9836-2CC7-C875CD07126A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rgbClr val="1195EB"/>
                </a:solidFill>
              </a:rPr>
              <a:t>Ein Unternehmen der EnBW</a:t>
            </a:r>
          </a:p>
        </p:txBody>
      </p:sp>
      <p:pic>
        <p:nvPicPr>
          <p:cNvPr id="64" name="Grafik 63">
            <a:extLst>
              <a:ext uri="{FF2B5EF4-FFF2-40B4-BE49-F238E27FC236}">
                <a16:creationId xmlns:a16="http://schemas.microsoft.com/office/drawing/2014/main" id="{B684A60F-6CB9-F8F9-9F34-DAE666A035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4" cy="565200"/>
          </a:xfrm>
          <a:prstGeom prst="rect">
            <a:avLst/>
          </a:prstGeom>
        </p:spPr>
      </p:pic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D38F1-2C29-011A-4FAB-2E0B10170A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368" y="2505841"/>
            <a:ext cx="3959846" cy="3959844"/>
          </a:xfrm>
          <a:custGeom>
            <a:avLst/>
            <a:gdLst>
              <a:gd name="connsiteX0" fmla="*/ 1979924 w 3959846"/>
              <a:gd name="connsiteY0" fmla="*/ 0 h 3959844"/>
              <a:gd name="connsiteX1" fmla="*/ 3959846 w 3959846"/>
              <a:gd name="connsiteY1" fmla="*/ 1979923 h 3959844"/>
              <a:gd name="connsiteX2" fmla="*/ 3959846 w 3959846"/>
              <a:gd name="connsiteY2" fmla="*/ 3959844 h 3959844"/>
              <a:gd name="connsiteX3" fmla="*/ 0 w 3959846"/>
              <a:gd name="connsiteY3" fmla="*/ 3959844 h 3959844"/>
              <a:gd name="connsiteX4" fmla="*/ 0 w 3959846"/>
              <a:gd name="connsiteY4" fmla="*/ 1979923 h 3959844"/>
              <a:gd name="connsiteX5" fmla="*/ 1979924 w 3959846"/>
              <a:gd name="connsiteY5" fmla="*/ 0 h 3959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9846" h="3959844">
                <a:moveTo>
                  <a:pt x="1979924" y="0"/>
                </a:moveTo>
                <a:cubicBezTo>
                  <a:pt x="3073445" y="0"/>
                  <a:pt x="3959846" y="886401"/>
                  <a:pt x="3959846" y="1979923"/>
                </a:cubicBezTo>
                <a:lnTo>
                  <a:pt x="3959846" y="3959844"/>
                </a:lnTo>
                <a:lnTo>
                  <a:pt x="0" y="3959844"/>
                </a:lnTo>
                <a:lnTo>
                  <a:pt x="0" y="1979923"/>
                </a:lnTo>
                <a:cubicBezTo>
                  <a:pt x="0" y="886401"/>
                  <a:pt x="886402" y="0"/>
                  <a:pt x="1979924" y="0"/>
                </a:cubicBez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7271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warmgrau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000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175972AD-FD90-049F-F161-CC84A11A0747}"/>
              </a:ext>
            </a:extLst>
          </p:cNvPr>
          <p:cNvSpPr/>
          <p:nvPr userDrawn="1"/>
        </p:nvSpPr>
        <p:spPr>
          <a:xfrm rot="5400000" flipH="1">
            <a:off x="407988" y="404813"/>
            <a:ext cx="1848989" cy="1848989"/>
          </a:xfrm>
          <a:custGeom>
            <a:avLst/>
            <a:gdLst>
              <a:gd name="connsiteX0" fmla="*/ 2454783 w 2454783"/>
              <a:gd name="connsiteY0" fmla="*/ 1227392 h 2454783"/>
              <a:gd name="connsiteX1" fmla="*/ 1227392 w 2454783"/>
              <a:gd name="connsiteY1" fmla="*/ 2454783 h 2454783"/>
              <a:gd name="connsiteX2" fmla="*/ 1 w 2454783"/>
              <a:gd name="connsiteY2" fmla="*/ 1227392 h 2454783"/>
              <a:gd name="connsiteX3" fmla="*/ 1227392 w 2454783"/>
              <a:gd name="connsiteY3" fmla="*/ 0 h 2454783"/>
              <a:gd name="connsiteX4" fmla="*/ 2454783 w 2454783"/>
              <a:gd name="connsiteY4" fmla="*/ 1227392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4783" h="2454783">
                <a:moveTo>
                  <a:pt x="2454783" y="1227392"/>
                </a:moveTo>
                <a:cubicBezTo>
                  <a:pt x="2454783" y="1905261"/>
                  <a:pt x="1905261" y="2454783"/>
                  <a:pt x="1227392" y="2454783"/>
                </a:cubicBezTo>
                <a:cubicBezTo>
                  <a:pt x="549522" y="2454783"/>
                  <a:pt x="1" y="1905261"/>
                  <a:pt x="1" y="1227392"/>
                </a:cubicBezTo>
                <a:cubicBezTo>
                  <a:pt x="1" y="549522"/>
                  <a:pt x="549523" y="0"/>
                  <a:pt x="1227392" y="0"/>
                </a:cubicBezTo>
                <a:cubicBezTo>
                  <a:pt x="1905262" y="0"/>
                  <a:pt x="2454783" y="549523"/>
                  <a:pt x="2454783" y="122739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94A199B4-2CBF-1736-9EB4-D59C0A967DD9}"/>
              </a:ext>
            </a:extLst>
          </p:cNvPr>
          <p:cNvGrpSpPr/>
          <p:nvPr userDrawn="1"/>
        </p:nvGrpSpPr>
        <p:grpSpPr>
          <a:xfrm flipH="1">
            <a:off x="2563002" y="487812"/>
            <a:ext cx="1683066" cy="1682991"/>
            <a:chOff x="2545959" y="2479024"/>
            <a:chExt cx="1691059" cy="1690984"/>
          </a:xfrm>
          <a:solidFill>
            <a:schemeClr val="accent4"/>
          </a:solidFill>
        </p:grpSpPr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3DE869BB-8322-D89E-D95E-EE31569311A9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4A4A9FDC-0E15-1B7E-BCD0-62732DFE77D3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DB1941CA-4D3D-0595-B8A3-BE587AF2728A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7ECF0C93-03D0-BCA1-C2C5-7518DD7C47EC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A8F06A02-BF0D-F37A-CE72-CF678672205E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26CAD32-607F-447D-435B-A554D0FE1CE4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381E972-4EA6-45E7-849E-EDF45119DAF4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249801EC-3331-0A62-C820-1071C29A2D33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3FACC4B-FFC2-ECC9-CCF3-04459FBDECE5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E9381E77-072F-B4CA-F26D-4746ADA536FB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7C79F8D-EC80-CEE9-0CC1-A00E07FCFA46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0AC5D24D-F792-7138-070D-40A161AE107C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B60A2E5E-883D-0E64-4220-5CD4AB73509F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6E843998-D1F4-81F7-81F6-913C81C13C77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BF1C9602-F81C-7A74-CAEF-A6C2BAB58D16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4F8B0C56-FCEB-9290-7502-34A4EF5706E5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982D63A6-6B5A-887B-9072-725544096E86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5604762D-6B71-EC13-47EC-1DF30E8AE776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F018F543-1B36-EE1A-54D0-D24D5405CD53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BE3E4927-FBFF-4FB7-49C0-F61F0D68BB2B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19444F1F-08D8-0CD0-928B-3FF43D7A1F3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D1A805F-8991-B486-3CE4-F6BFA619F55E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046AE7E7-2984-778D-51C5-9574D8821F3B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5C423BA-10B1-88F3-52C9-55C47D0E907F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76F9FB3-BDC1-9836-2CC7-C875CD07126A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chemeClr val="tx1"/>
                </a:solidFill>
              </a:rPr>
              <a:t>Ein Unternehmen der EnBW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D38F1-2C29-011A-4FAB-2E0B10170A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368" y="2505841"/>
            <a:ext cx="3959846" cy="3959844"/>
          </a:xfrm>
          <a:custGeom>
            <a:avLst/>
            <a:gdLst>
              <a:gd name="connsiteX0" fmla="*/ 1979924 w 3959846"/>
              <a:gd name="connsiteY0" fmla="*/ 0 h 3959844"/>
              <a:gd name="connsiteX1" fmla="*/ 3959846 w 3959846"/>
              <a:gd name="connsiteY1" fmla="*/ 1979923 h 3959844"/>
              <a:gd name="connsiteX2" fmla="*/ 3959846 w 3959846"/>
              <a:gd name="connsiteY2" fmla="*/ 3959844 h 3959844"/>
              <a:gd name="connsiteX3" fmla="*/ 0 w 3959846"/>
              <a:gd name="connsiteY3" fmla="*/ 3959844 h 3959844"/>
              <a:gd name="connsiteX4" fmla="*/ 0 w 3959846"/>
              <a:gd name="connsiteY4" fmla="*/ 1979923 h 3959844"/>
              <a:gd name="connsiteX5" fmla="*/ 1979924 w 3959846"/>
              <a:gd name="connsiteY5" fmla="*/ 0 h 3959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9846" h="3959844">
                <a:moveTo>
                  <a:pt x="1979924" y="0"/>
                </a:moveTo>
                <a:cubicBezTo>
                  <a:pt x="3073445" y="0"/>
                  <a:pt x="3959846" y="886401"/>
                  <a:pt x="3959846" y="1979923"/>
                </a:cubicBezTo>
                <a:lnTo>
                  <a:pt x="3959846" y="3959844"/>
                </a:lnTo>
                <a:lnTo>
                  <a:pt x="0" y="3959844"/>
                </a:lnTo>
                <a:lnTo>
                  <a:pt x="0" y="1979923"/>
                </a:lnTo>
                <a:cubicBezTo>
                  <a:pt x="0" y="886401"/>
                  <a:pt x="886402" y="0"/>
                  <a:pt x="1979924" y="0"/>
                </a:cubicBez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CDC6DBA-4F42-B00E-0C5E-1D5BA0655B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0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58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332867"/>
            <a:ext cx="7848253" cy="5038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CC56D05-96DA-01A7-8933-A5477F02B9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0632" y="419801"/>
            <a:ext cx="1584000" cy="344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93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D4A662B-B6C6-4BE2-B11D-B4B1C0675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332867"/>
            <a:ext cx="8784357" cy="5038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794896-4FD7-4947-86D4-5A6FD82C7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44675"/>
            <a:ext cx="1137602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D80C1E-FA8A-4067-9BBF-B43D41E7C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543420"/>
            <a:ext cx="10117137" cy="14386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18E19E-546D-45F0-BDB6-91738FC9EF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9850" y="6543420"/>
            <a:ext cx="281577" cy="143868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0">
                <a:solidFill>
                  <a:schemeClr val="tx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C873169-D421-ED96-2AB2-906F97D6AC68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200456" y="419762"/>
            <a:ext cx="1584176" cy="344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027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40" r:id="rId2"/>
    <p:sldLayoutId id="2147483715" r:id="rId3"/>
    <p:sldLayoutId id="2147483741" r:id="rId4"/>
    <p:sldLayoutId id="2147483736" r:id="rId5"/>
    <p:sldLayoutId id="2147483742" r:id="rId6"/>
    <p:sldLayoutId id="2147483738" r:id="rId7"/>
    <p:sldLayoutId id="2147483743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5" r:id="rId22"/>
    <p:sldLayoutId id="2147483731" r:id="rId23"/>
    <p:sldLayoutId id="2147483732" r:id="rId24"/>
    <p:sldLayoutId id="2147483733" r:id="rId25"/>
    <p:sldLayoutId id="2147483739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bg2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11213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5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62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5" orient="horz" pos="1185">
          <p15:clr>
            <a:srgbClr val="F26B43"/>
          </p15:clr>
        </p15:guide>
        <p15:guide id="6" orient="horz" pos="3952">
          <p15:clr>
            <a:srgbClr val="F26B43"/>
          </p15:clr>
        </p15:guide>
        <p15:guide id="7" pos="3840">
          <p15:clr>
            <a:srgbClr val="F26B43"/>
          </p15:clr>
        </p15:guide>
        <p15:guide id="9" pos="4021">
          <p15:clr>
            <a:srgbClr val="F26B43"/>
          </p15:clr>
        </p15:guide>
        <p15:guide id="11" pos="3659">
          <p15:clr>
            <a:srgbClr val="F26B43"/>
          </p15:clr>
        </p15:guide>
        <p15:guide id="14" orient="horz" pos="255" userDrawn="1">
          <p15:clr>
            <a:srgbClr val="F26B43"/>
          </p15:clr>
        </p15:guide>
        <p15:guide id="17" orient="horz" pos="40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7" Type="http://schemas.openxmlformats.org/officeDocument/2006/relationships/image" Target="../media/image215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9.png"/><Relationship Id="rId5" Type="http://schemas.openxmlformats.org/officeDocument/2006/relationships/image" Target="../media/image214.svg"/><Relationship Id="rId4" Type="http://schemas.openxmlformats.org/officeDocument/2006/relationships/image" Target="../media/image213.png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7" Type="http://schemas.openxmlformats.org/officeDocument/2006/relationships/image" Target="../media/image215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9.png"/><Relationship Id="rId5" Type="http://schemas.openxmlformats.org/officeDocument/2006/relationships/image" Target="../media/image214.svg"/><Relationship Id="rId4" Type="http://schemas.openxmlformats.org/officeDocument/2006/relationships/image" Target="../media/image213.png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7" Type="http://schemas.openxmlformats.org/officeDocument/2006/relationships/image" Target="../media/image215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9.png"/><Relationship Id="rId5" Type="http://schemas.openxmlformats.org/officeDocument/2006/relationships/image" Target="../media/image214.svg"/><Relationship Id="rId4" Type="http://schemas.openxmlformats.org/officeDocument/2006/relationships/image" Target="../media/image213.png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7" Type="http://schemas.openxmlformats.org/officeDocument/2006/relationships/image" Target="../media/image215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9.png"/><Relationship Id="rId5" Type="http://schemas.openxmlformats.org/officeDocument/2006/relationships/image" Target="../media/image214.svg"/><Relationship Id="rId4" Type="http://schemas.openxmlformats.org/officeDocument/2006/relationships/image" Target="../media/image213.png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svg"/><Relationship Id="rId7" Type="http://schemas.openxmlformats.org/officeDocument/2006/relationships/image" Target="../media/image21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13.png"/><Relationship Id="rId5" Type="http://schemas.openxmlformats.org/officeDocument/2006/relationships/image" Target="../media/image122.svg"/><Relationship Id="rId4" Type="http://schemas.openxmlformats.org/officeDocument/2006/relationships/image" Target="../media/image121.png"/><Relationship Id="rId9" Type="http://schemas.openxmlformats.org/officeDocument/2006/relationships/image" Target="../media/image215.svg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4.svg"/><Relationship Id="rId2" Type="http://schemas.openxmlformats.org/officeDocument/2006/relationships/image" Target="../media/image223.png"/><Relationship Id="rId1" Type="http://schemas.openxmlformats.org/officeDocument/2006/relationships/slideLayout" Target="../slideLayouts/slideLayout20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6.svg"/><Relationship Id="rId2" Type="http://schemas.openxmlformats.org/officeDocument/2006/relationships/image" Target="../media/image225.png"/><Relationship Id="rId1" Type="http://schemas.openxmlformats.org/officeDocument/2006/relationships/slideLayout" Target="../slideLayouts/slideLayout20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8.svg"/><Relationship Id="rId2" Type="http://schemas.openxmlformats.org/officeDocument/2006/relationships/image" Target="../media/image227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2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2.svg"/><Relationship Id="rId18" Type="http://schemas.openxmlformats.org/officeDocument/2006/relationships/image" Target="../media/image37.png"/><Relationship Id="rId26" Type="http://schemas.openxmlformats.org/officeDocument/2006/relationships/image" Target="../media/image45.png"/><Relationship Id="rId39" Type="http://schemas.openxmlformats.org/officeDocument/2006/relationships/image" Target="../media/image58.svg"/><Relationship Id="rId3" Type="http://schemas.openxmlformats.org/officeDocument/2006/relationships/image" Target="../media/image22.svg"/><Relationship Id="rId21" Type="http://schemas.openxmlformats.org/officeDocument/2006/relationships/image" Target="../media/image40.svg"/><Relationship Id="rId34" Type="http://schemas.openxmlformats.org/officeDocument/2006/relationships/image" Target="../media/image53.png"/><Relationship Id="rId42" Type="http://schemas.openxmlformats.org/officeDocument/2006/relationships/image" Target="../media/image61.png"/><Relationship Id="rId47" Type="http://schemas.openxmlformats.org/officeDocument/2006/relationships/image" Target="../media/image66.svg"/><Relationship Id="rId50" Type="http://schemas.openxmlformats.org/officeDocument/2006/relationships/image" Target="../media/image68.svg"/><Relationship Id="rId7" Type="http://schemas.openxmlformats.org/officeDocument/2006/relationships/image" Target="../media/image26.svg"/><Relationship Id="rId12" Type="http://schemas.openxmlformats.org/officeDocument/2006/relationships/image" Target="../media/image31.png"/><Relationship Id="rId17" Type="http://schemas.openxmlformats.org/officeDocument/2006/relationships/image" Target="../media/image36.svg"/><Relationship Id="rId25" Type="http://schemas.openxmlformats.org/officeDocument/2006/relationships/image" Target="../media/image44.svg"/><Relationship Id="rId33" Type="http://schemas.openxmlformats.org/officeDocument/2006/relationships/image" Target="../media/image52.svg"/><Relationship Id="rId38" Type="http://schemas.openxmlformats.org/officeDocument/2006/relationships/image" Target="../media/image57.png"/><Relationship Id="rId46" Type="http://schemas.openxmlformats.org/officeDocument/2006/relationships/image" Target="../media/image65.png"/><Relationship Id="rId2" Type="http://schemas.openxmlformats.org/officeDocument/2006/relationships/image" Target="../media/image21.png"/><Relationship Id="rId16" Type="http://schemas.openxmlformats.org/officeDocument/2006/relationships/image" Target="../media/image35.png"/><Relationship Id="rId20" Type="http://schemas.openxmlformats.org/officeDocument/2006/relationships/image" Target="../media/image39.png"/><Relationship Id="rId29" Type="http://schemas.openxmlformats.org/officeDocument/2006/relationships/image" Target="../media/image48.svg"/><Relationship Id="rId41" Type="http://schemas.openxmlformats.org/officeDocument/2006/relationships/image" Target="../media/image60.sv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5.png"/><Relationship Id="rId11" Type="http://schemas.openxmlformats.org/officeDocument/2006/relationships/image" Target="../media/image30.svg"/><Relationship Id="rId24" Type="http://schemas.openxmlformats.org/officeDocument/2006/relationships/image" Target="../media/image43.png"/><Relationship Id="rId32" Type="http://schemas.openxmlformats.org/officeDocument/2006/relationships/image" Target="../media/image51.png"/><Relationship Id="rId37" Type="http://schemas.openxmlformats.org/officeDocument/2006/relationships/image" Target="../media/image56.svg"/><Relationship Id="rId40" Type="http://schemas.openxmlformats.org/officeDocument/2006/relationships/image" Target="../media/image59.png"/><Relationship Id="rId45" Type="http://schemas.openxmlformats.org/officeDocument/2006/relationships/image" Target="../media/image64.svg"/><Relationship Id="rId5" Type="http://schemas.openxmlformats.org/officeDocument/2006/relationships/image" Target="../media/image24.svg"/><Relationship Id="rId15" Type="http://schemas.openxmlformats.org/officeDocument/2006/relationships/image" Target="../media/image34.svg"/><Relationship Id="rId23" Type="http://schemas.openxmlformats.org/officeDocument/2006/relationships/image" Target="../media/image42.svg"/><Relationship Id="rId28" Type="http://schemas.openxmlformats.org/officeDocument/2006/relationships/image" Target="../media/image47.png"/><Relationship Id="rId36" Type="http://schemas.openxmlformats.org/officeDocument/2006/relationships/image" Target="../media/image55.png"/><Relationship Id="rId49" Type="http://schemas.openxmlformats.org/officeDocument/2006/relationships/image" Target="../media/image67.png"/><Relationship Id="rId10" Type="http://schemas.openxmlformats.org/officeDocument/2006/relationships/image" Target="../media/image29.png"/><Relationship Id="rId19" Type="http://schemas.openxmlformats.org/officeDocument/2006/relationships/image" Target="../media/image38.svg"/><Relationship Id="rId31" Type="http://schemas.openxmlformats.org/officeDocument/2006/relationships/image" Target="../media/image50.svg"/><Relationship Id="rId44" Type="http://schemas.openxmlformats.org/officeDocument/2006/relationships/image" Target="../media/image63.png"/><Relationship Id="rId52" Type="http://schemas.openxmlformats.org/officeDocument/2006/relationships/hyperlink" Target="mailto:cd-check@netze-bw.de" TargetMode="External"/><Relationship Id="rId4" Type="http://schemas.openxmlformats.org/officeDocument/2006/relationships/image" Target="../media/image23.png"/><Relationship Id="rId9" Type="http://schemas.openxmlformats.org/officeDocument/2006/relationships/image" Target="../media/image28.svg"/><Relationship Id="rId14" Type="http://schemas.openxmlformats.org/officeDocument/2006/relationships/image" Target="../media/image33.png"/><Relationship Id="rId22" Type="http://schemas.openxmlformats.org/officeDocument/2006/relationships/image" Target="../media/image41.png"/><Relationship Id="rId27" Type="http://schemas.openxmlformats.org/officeDocument/2006/relationships/image" Target="../media/image46.svg"/><Relationship Id="rId30" Type="http://schemas.openxmlformats.org/officeDocument/2006/relationships/image" Target="../media/image49.png"/><Relationship Id="rId35" Type="http://schemas.openxmlformats.org/officeDocument/2006/relationships/image" Target="../media/image54.svg"/><Relationship Id="rId43" Type="http://schemas.openxmlformats.org/officeDocument/2006/relationships/image" Target="../media/image62.svg"/><Relationship Id="rId48" Type="http://schemas.openxmlformats.org/officeDocument/2006/relationships/hyperlink" Target="https://www.figma.com/file/FDiWbHQ18CW4aVu8gYibQQ/Netze-BW-%7C-Design-Guide-1.0-(VIM-Group)?node-id=155-15432&amp;t=i5iRRkpTtnSH7zQd-0" TargetMode="External"/><Relationship Id="rId8" Type="http://schemas.openxmlformats.org/officeDocument/2006/relationships/image" Target="../media/image27.png"/><Relationship Id="rId51" Type="http://schemas.openxmlformats.org/officeDocument/2006/relationships/hyperlink" Target="https://www.figma.com/file/CPRS9AHqmCY4hmVk5QbpbJ/Netze-BW-%7C-Design-Guide-1.0?node-id=155-15432&amp;t=gJhGvQbGiQqpXM1D-0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0.svg"/><Relationship Id="rId18" Type="http://schemas.openxmlformats.org/officeDocument/2006/relationships/image" Target="../media/image85.png"/><Relationship Id="rId26" Type="http://schemas.openxmlformats.org/officeDocument/2006/relationships/image" Target="../media/image93.png"/><Relationship Id="rId39" Type="http://schemas.openxmlformats.org/officeDocument/2006/relationships/image" Target="../media/image106.svg"/><Relationship Id="rId3" Type="http://schemas.openxmlformats.org/officeDocument/2006/relationships/image" Target="../media/image70.svg"/><Relationship Id="rId21" Type="http://schemas.openxmlformats.org/officeDocument/2006/relationships/image" Target="../media/image88.svg"/><Relationship Id="rId34" Type="http://schemas.openxmlformats.org/officeDocument/2006/relationships/image" Target="../media/image101.png"/><Relationship Id="rId42" Type="http://schemas.openxmlformats.org/officeDocument/2006/relationships/image" Target="../media/image109.png"/><Relationship Id="rId47" Type="http://schemas.openxmlformats.org/officeDocument/2006/relationships/image" Target="../media/image114.svg"/><Relationship Id="rId50" Type="http://schemas.openxmlformats.org/officeDocument/2006/relationships/image" Target="../media/image68.svg"/><Relationship Id="rId7" Type="http://schemas.openxmlformats.org/officeDocument/2006/relationships/image" Target="../media/image74.svg"/><Relationship Id="rId12" Type="http://schemas.openxmlformats.org/officeDocument/2006/relationships/image" Target="../media/image79.png"/><Relationship Id="rId17" Type="http://schemas.openxmlformats.org/officeDocument/2006/relationships/image" Target="../media/image84.svg"/><Relationship Id="rId25" Type="http://schemas.openxmlformats.org/officeDocument/2006/relationships/image" Target="../media/image92.svg"/><Relationship Id="rId33" Type="http://schemas.openxmlformats.org/officeDocument/2006/relationships/image" Target="../media/image100.svg"/><Relationship Id="rId38" Type="http://schemas.openxmlformats.org/officeDocument/2006/relationships/image" Target="../media/image105.png"/><Relationship Id="rId46" Type="http://schemas.openxmlformats.org/officeDocument/2006/relationships/image" Target="../media/image113.png"/><Relationship Id="rId2" Type="http://schemas.openxmlformats.org/officeDocument/2006/relationships/image" Target="../media/image69.png"/><Relationship Id="rId16" Type="http://schemas.openxmlformats.org/officeDocument/2006/relationships/image" Target="../media/image83.png"/><Relationship Id="rId20" Type="http://schemas.openxmlformats.org/officeDocument/2006/relationships/image" Target="../media/image87.png"/><Relationship Id="rId29" Type="http://schemas.openxmlformats.org/officeDocument/2006/relationships/image" Target="../media/image96.svg"/><Relationship Id="rId41" Type="http://schemas.openxmlformats.org/officeDocument/2006/relationships/image" Target="../media/image108.svg"/><Relationship Id="rId54" Type="http://schemas.openxmlformats.org/officeDocument/2006/relationships/hyperlink" Target="mailto:cd-check@netze-bw.de" TargetMode="Externa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3.png"/><Relationship Id="rId11" Type="http://schemas.openxmlformats.org/officeDocument/2006/relationships/image" Target="../media/image78.svg"/><Relationship Id="rId24" Type="http://schemas.openxmlformats.org/officeDocument/2006/relationships/image" Target="../media/image91.png"/><Relationship Id="rId32" Type="http://schemas.openxmlformats.org/officeDocument/2006/relationships/image" Target="../media/image99.png"/><Relationship Id="rId37" Type="http://schemas.openxmlformats.org/officeDocument/2006/relationships/image" Target="../media/image104.svg"/><Relationship Id="rId40" Type="http://schemas.openxmlformats.org/officeDocument/2006/relationships/image" Target="../media/image107.png"/><Relationship Id="rId45" Type="http://schemas.openxmlformats.org/officeDocument/2006/relationships/image" Target="../media/image112.svg"/><Relationship Id="rId53" Type="http://schemas.openxmlformats.org/officeDocument/2006/relationships/hyperlink" Target="https://www.figma.com/file/CPRS9AHqmCY4hmVk5QbpbJ/Netze-BW-%7C-Design-Guide-1.0?node-id=155-15432&amp;t=gJhGvQbGiQqpXM1D-0" TargetMode="External"/><Relationship Id="rId5" Type="http://schemas.openxmlformats.org/officeDocument/2006/relationships/image" Target="../media/image72.svg"/><Relationship Id="rId15" Type="http://schemas.openxmlformats.org/officeDocument/2006/relationships/image" Target="../media/image82.svg"/><Relationship Id="rId23" Type="http://schemas.openxmlformats.org/officeDocument/2006/relationships/image" Target="../media/image90.svg"/><Relationship Id="rId28" Type="http://schemas.openxmlformats.org/officeDocument/2006/relationships/image" Target="../media/image95.png"/><Relationship Id="rId36" Type="http://schemas.openxmlformats.org/officeDocument/2006/relationships/image" Target="../media/image103.png"/><Relationship Id="rId49" Type="http://schemas.openxmlformats.org/officeDocument/2006/relationships/image" Target="../media/image67.png"/><Relationship Id="rId10" Type="http://schemas.openxmlformats.org/officeDocument/2006/relationships/image" Target="../media/image77.png"/><Relationship Id="rId19" Type="http://schemas.openxmlformats.org/officeDocument/2006/relationships/image" Target="../media/image86.svg"/><Relationship Id="rId31" Type="http://schemas.openxmlformats.org/officeDocument/2006/relationships/image" Target="../media/image98.svg"/><Relationship Id="rId44" Type="http://schemas.openxmlformats.org/officeDocument/2006/relationships/image" Target="../media/image111.png"/><Relationship Id="rId52" Type="http://schemas.openxmlformats.org/officeDocument/2006/relationships/image" Target="../media/image116.svg"/><Relationship Id="rId4" Type="http://schemas.openxmlformats.org/officeDocument/2006/relationships/image" Target="../media/image71.png"/><Relationship Id="rId9" Type="http://schemas.openxmlformats.org/officeDocument/2006/relationships/image" Target="../media/image76.svg"/><Relationship Id="rId14" Type="http://schemas.openxmlformats.org/officeDocument/2006/relationships/image" Target="../media/image81.png"/><Relationship Id="rId22" Type="http://schemas.openxmlformats.org/officeDocument/2006/relationships/image" Target="../media/image89.png"/><Relationship Id="rId27" Type="http://schemas.openxmlformats.org/officeDocument/2006/relationships/image" Target="../media/image94.svg"/><Relationship Id="rId30" Type="http://schemas.openxmlformats.org/officeDocument/2006/relationships/image" Target="../media/image97.png"/><Relationship Id="rId35" Type="http://schemas.openxmlformats.org/officeDocument/2006/relationships/image" Target="../media/image102.svg"/><Relationship Id="rId43" Type="http://schemas.openxmlformats.org/officeDocument/2006/relationships/image" Target="../media/image110.svg"/><Relationship Id="rId48" Type="http://schemas.openxmlformats.org/officeDocument/2006/relationships/hyperlink" Target="https://www.figma.com/file/FDiWbHQ18CW4aVu8gYibQQ/Netze-BW-%7C-Design-Guide-1.0-(VIM-Group)?node-id=155-15432&amp;t=i5iRRkpTtnSH7zQd-0" TargetMode="External"/><Relationship Id="rId8" Type="http://schemas.openxmlformats.org/officeDocument/2006/relationships/image" Target="../media/image75.png"/><Relationship Id="rId51" Type="http://schemas.openxmlformats.org/officeDocument/2006/relationships/image" Target="../media/image115.png"/></Relationships>
</file>

<file path=ppt/slides/_rels/slide3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8.svg"/><Relationship Id="rId18" Type="http://schemas.openxmlformats.org/officeDocument/2006/relationships/image" Target="../media/image133.png"/><Relationship Id="rId26" Type="http://schemas.openxmlformats.org/officeDocument/2006/relationships/image" Target="../media/image141.png"/><Relationship Id="rId39" Type="http://schemas.openxmlformats.org/officeDocument/2006/relationships/image" Target="../media/image154.svg"/><Relationship Id="rId3" Type="http://schemas.openxmlformats.org/officeDocument/2006/relationships/image" Target="../media/image118.svg"/><Relationship Id="rId21" Type="http://schemas.openxmlformats.org/officeDocument/2006/relationships/image" Target="../media/image136.svg"/><Relationship Id="rId34" Type="http://schemas.openxmlformats.org/officeDocument/2006/relationships/image" Target="../media/image149.png"/><Relationship Id="rId42" Type="http://schemas.openxmlformats.org/officeDocument/2006/relationships/image" Target="../media/image157.png"/><Relationship Id="rId47" Type="http://schemas.openxmlformats.org/officeDocument/2006/relationships/image" Target="../media/image162.svg"/><Relationship Id="rId50" Type="http://schemas.openxmlformats.org/officeDocument/2006/relationships/hyperlink" Target="https://www.figma.com/file/FDiWbHQ18CW4aVu8gYibQQ/Netze-BW-%7C-Design-Guide-1.0-(VIM-Group)?node-id=155-15432&amp;t=i5iRRkpTtnSH7zQd-0" TargetMode="External"/><Relationship Id="rId7" Type="http://schemas.openxmlformats.org/officeDocument/2006/relationships/image" Target="../media/image122.svg"/><Relationship Id="rId12" Type="http://schemas.openxmlformats.org/officeDocument/2006/relationships/image" Target="../media/image127.png"/><Relationship Id="rId17" Type="http://schemas.openxmlformats.org/officeDocument/2006/relationships/image" Target="../media/image132.svg"/><Relationship Id="rId25" Type="http://schemas.openxmlformats.org/officeDocument/2006/relationships/image" Target="../media/image140.svg"/><Relationship Id="rId33" Type="http://schemas.openxmlformats.org/officeDocument/2006/relationships/image" Target="../media/image148.svg"/><Relationship Id="rId38" Type="http://schemas.openxmlformats.org/officeDocument/2006/relationships/image" Target="../media/image153.png"/><Relationship Id="rId46" Type="http://schemas.openxmlformats.org/officeDocument/2006/relationships/image" Target="../media/image161.png"/><Relationship Id="rId2" Type="http://schemas.openxmlformats.org/officeDocument/2006/relationships/image" Target="../media/image117.png"/><Relationship Id="rId16" Type="http://schemas.openxmlformats.org/officeDocument/2006/relationships/image" Target="../media/image131.png"/><Relationship Id="rId20" Type="http://schemas.openxmlformats.org/officeDocument/2006/relationships/image" Target="../media/image135.png"/><Relationship Id="rId29" Type="http://schemas.openxmlformats.org/officeDocument/2006/relationships/image" Target="../media/image144.svg"/><Relationship Id="rId41" Type="http://schemas.openxmlformats.org/officeDocument/2006/relationships/image" Target="../media/image156.svg"/><Relationship Id="rId54" Type="http://schemas.openxmlformats.org/officeDocument/2006/relationships/hyperlink" Target="mailto:cd-check@netze-bw.de" TargetMode="Externa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1.png"/><Relationship Id="rId11" Type="http://schemas.openxmlformats.org/officeDocument/2006/relationships/image" Target="../media/image126.svg"/><Relationship Id="rId24" Type="http://schemas.openxmlformats.org/officeDocument/2006/relationships/image" Target="../media/image139.png"/><Relationship Id="rId32" Type="http://schemas.openxmlformats.org/officeDocument/2006/relationships/image" Target="../media/image147.png"/><Relationship Id="rId37" Type="http://schemas.openxmlformats.org/officeDocument/2006/relationships/image" Target="../media/image152.svg"/><Relationship Id="rId40" Type="http://schemas.openxmlformats.org/officeDocument/2006/relationships/image" Target="../media/image155.png"/><Relationship Id="rId45" Type="http://schemas.openxmlformats.org/officeDocument/2006/relationships/image" Target="../media/image160.svg"/><Relationship Id="rId53" Type="http://schemas.openxmlformats.org/officeDocument/2006/relationships/hyperlink" Target="https://www.figma.com/file/CPRS9AHqmCY4hmVk5QbpbJ/Netze-BW-%7C-Design-Guide-1.0?node-id=155-15432&amp;t=gJhGvQbGiQqpXM1D-0" TargetMode="External"/><Relationship Id="rId5" Type="http://schemas.openxmlformats.org/officeDocument/2006/relationships/image" Target="../media/image120.svg"/><Relationship Id="rId15" Type="http://schemas.openxmlformats.org/officeDocument/2006/relationships/image" Target="../media/image130.svg"/><Relationship Id="rId23" Type="http://schemas.openxmlformats.org/officeDocument/2006/relationships/image" Target="../media/image138.svg"/><Relationship Id="rId28" Type="http://schemas.openxmlformats.org/officeDocument/2006/relationships/image" Target="../media/image143.png"/><Relationship Id="rId36" Type="http://schemas.openxmlformats.org/officeDocument/2006/relationships/image" Target="../media/image151.png"/><Relationship Id="rId49" Type="http://schemas.openxmlformats.org/officeDocument/2006/relationships/image" Target="../media/image164.svg"/><Relationship Id="rId10" Type="http://schemas.openxmlformats.org/officeDocument/2006/relationships/image" Target="../media/image125.png"/><Relationship Id="rId19" Type="http://schemas.openxmlformats.org/officeDocument/2006/relationships/image" Target="../media/image134.svg"/><Relationship Id="rId31" Type="http://schemas.openxmlformats.org/officeDocument/2006/relationships/image" Target="../media/image146.svg"/><Relationship Id="rId44" Type="http://schemas.openxmlformats.org/officeDocument/2006/relationships/image" Target="../media/image159.png"/><Relationship Id="rId52" Type="http://schemas.openxmlformats.org/officeDocument/2006/relationships/image" Target="../media/image68.svg"/><Relationship Id="rId4" Type="http://schemas.openxmlformats.org/officeDocument/2006/relationships/image" Target="../media/image119.png"/><Relationship Id="rId9" Type="http://schemas.openxmlformats.org/officeDocument/2006/relationships/image" Target="../media/image124.svg"/><Relationship Id="rId14" Type="http://schemas.openxmlformats.org/officeDocument/2006/relationships/image" Target="../media/image129.png"/><Relationship Id="rId22" Type="http://schemas.openxmlformats.org/officeDocument/2006/relationships/image" Target="../media/image137.png"/><Relationship Id="rId27" Type="http://schemas.openxmlformats.org/officeDocument/2006/relationships/image" Target="../media/image142.svg"/><Relationship Id="rId30" Type="http://schemas.openxmlformats.org/officeDocument/2006/relationships/image" Target="../media/image145.png"/><Relationship Id="rId35" Type="http://schemas.openxmlformats.org/officeDocument/2006/relationships/image" Target="../media/image150.svg"/><Relationship Id="rId43" Type="http://schemas.openxmlformats.org/officeDocument/2006/relationships/image" Target="../media/image158.svg"/><Relationship Id="rId48" Type="http://schemas.openxmlformats.org/officeDocument/2006/relationships/image" Target="../media/image163.png"/><Relationship Id="rId8" Type="http://schemas.openxmlformats.org/officeDocument/2006/relationships/image" Target="../media/image123.png"/><Relationship Id="rId51" Type="http://schemas.openxmlformats.org/officeDocument/2006/relationships/image" Target="../media/image67.png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76.svg"/><Relationship Id="rId18" Type="http://schemas.openxmlformats.org/officeDocument/2006/relationships/image" Target="../media/image181.png"/><Relationship Id="rId26" Type="http://schemas.openxmlformats.org/officeDocument/2006/relationships/image" Target="../media/image189.png"/><Relationship Id="rId39" Type="http://schemas.openxmlformats.org/officeDocument/2006/relationships/image" Target="../media/image202.svg"/><Relationship Id="rId3" Type="http://schemas.openxmlformats.org/officeDocument/2006/relationships/image" Target="../media/image166.svg"/><Relationship Id="rId21" Type="http://schemas.openxmlformats.org/officeDocument/2006/relationships/image" Target="../media/image184.svg"/><Relationship Id="rId34" Type="http://schemas.openxmlformats.org/officeDocument/2006/relationships/image" Target="../media/image197.png"/><Relationship Id="rId42" Type="http://schemas.openxmlformats.org/officeDocument/2006/relationships/image" Target="../media/image205.png"/><Relationship Id="rId47" Type="http://schemas.openxmlformats.org/officeDocument/2006/relationships/image" Target="../media/image210.svg"/><Relationship Id="rId50" Type="http://schemas.openxmlformats.org/officeDocument/2006/relationships/image" Target="../media/image68.svg"/><Relationship Id="rId7" Type="http://schemas.openxmlformats.org/officeDocument/2006/relationships/image" Target="../media/image170.svg"/><Relationship Id="rId12" Type="http://schemas.openxmlformats.org/officeDocument/2006/relationships/image" Target="../media/image175.png"/><Relationship Id="rId17" Type="http://schemas.openxmlformats.org/officeDocument/2006/relationships/image" Target="../media/image180.svg"/><Relationship Id="rId25" Type="http://schemas.openxmlformats.org/officeDocument/2006/relationships/image" Target="../media/image188.svg"/><Relationship Id="rId33" Type="http://schemas.openxmlformats.org/officeDocument/2006/relationships/image" Target="../media/image196.svg"/><Relationship Id="rId38" Type="http://schemas.openxmlformats.org/officeDocument/2006/relationships/image" Target="../media/image201.png"/><Relationship Id="rId46" Type="http://schemas.openxmlformats.org/officeDocument/2006/relationships/image" Target="../media/image209.png"/><Relationship Id="rId2" Type="http://schemas.openxmlformats.org/officeDocument/2006/relationships/image" Target="../media/image165.png"/><Relationship Id="rId16" Type="http://schemas.openxmlformats.org/officeDocument/2006/relationships/image" Target="../media/image179.png"/><Relationship Id="rId20" Type="http://schemas.openxmlformats.org/officeDocument/2006/relationships/image" Target="../media/image183.png"/><Relationship Id="rId29" Type="http://schemas.openxmlformats.org/officeDocument/2006/relationships/image" Target="../media/image192.svg"/><Relationship Id="rId41" Type="http://schemas.openxmlformats.org/officeDocument/2006/relationships/image" Target="../media/image204.svg"/><Relationship Id="rId54" Type="http://schemas.openxmlformats.org/officeDocument/2006/relationships/hyperlink" Target="mailto:cd-check@netze-bw.de" TargetMode="Externa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69.png"/><Relationship Id="rId11" Type="http://schemas.openxmlformats.org/officeDocument/2006/relationships/image" Target="../media/image174.svg"/><Relationship Id="rId24" Type="http://schemas.openxmlformats.org/officeDocument/2006/relationships/image" Target="../media/image187.png"/><Relationship Id="rId32" Type="http://schemas.openxmlformats.org/officeDocument/2006/relationships/image" Target="../media/image195.png"/><Relationship Id="rId37" Type="http://schemas.openxmlformats.org/officeDocument/2006/relationships/image" Target="../media/image200.svg"/><Relationship Id="rId40" Type="http://schemas.openxmlformats.org/officeDocument/2006/relationships/image" Target="../media/image203.png"/><Relationship Id="rId45" Type="http://schemas.openxmlformats.org/officeDocument/2006/relationships/image" Target="../media/image208.svg"/><Relationship Id="rId53" Type="http://schemas.openxmlformats.org/officeDocument/2006/relationships/hyperlink" Target="https://www.figma.com/file/CPRS9AHqmCY4hmVk5QbpbJ/Netze-BW-%7C-Design-Guide-1.0?node-id=155-15432&amp;t=gJhGvQbGiQqpXM1D-0" TargetMode="External"/><Relationship Id="rId5" Type="http://schemas.openxmlformats.org/officeDocument/2006/relationships/image" Target="../media/image168.svg"/><Relationship Id="rId15" Type="http://schemas.openxmlformats.org/officeDocument/2006/relationships/image" Target="../media/image178.svg"/><Relationship Id="rId23" Type="http://schemas.openxmlformats.org/officeDocument/2006/relationships/image" Target="../media/image186.svg"/><Relationship Id="rId28" Type="http://schemas.openxmlformats.org/officeDocument/2006/relationships/image" Target="../media/image191.png"/><Relationship Id="rId36" Type="http://schemas.openxmlformats.org/officeDocument/2006/relationships/image" Target="../media/image199.png"/><Relationship Id="rId49" Type="http://schemas.openxmlformats.org/officeDocument/2006/relationships/image" Target="../media/image67.png"/><Relationship Id="rId10" Type="http://schemas.openxmlformats.org/officeDocument/2006/relationships/image" Target="../media/image173.png"/><Relationship Id="rId19" Type="http://schemas.openxmlformats.org/officeDocument/2006/relationships/image" Target="../media/image182.svg"/><Relationship Id="rId31" Type="http://schemas.openxmlformats.org/officeDocument/2006/relationships/image" Target="../media/image194.svg"/><Relationship Id="rId44" Type="http://schemas.openxmlformats.org/officeDocument/2006/relationships/image" Target="../media/image207.png"/><Relationship Id="rId52" Type="http://schemas.openxmlformats.org/officeDocument/2006/relationships/image" Target="../media/image212.svg"/><Relationship Id="rId4" Type="http://schemas.openxmlformats.org/officeDocument/2006/relationships/image" Target="../media/image167.png"/><Relationship Id="rId9" Type="http://schemas.openxmlformats.org/officeDocument/2006/relationships/image" Target="../media/image172.svg"/><Relationship Id="rId14" Type="http://schemas.openxmlformats.org/officeDocument/2006/relationships/image" Target="../media/image177.png"/><Relationship Id="rId22" Type="http://schemas.openxmlformats.org/officeDocument/2006/relationships/image" Target="../media/image185.png"/><Relationship Id="rId27" Type="http://schemas.openxmlformats.org/officeDocument/2006/relationships/image" Target="../media/image190.svg"/><Relationship Id="rId30" Type="http://schemas.openxmlformats.org/officeDocument/2006/relationships/image" Target="../media/image193.png"/><Relationship Id="rId35" Type="http://schemas.openxmlformats.org/officeDocument/2006/relationships/image" Target="../media/image198.svg"/><Relationship Id="rId43" Type="http://schemas.openxmlformats.org/officeDocument/2006/relationships/image" Target="../media/image206.svg"/><Relationship Id="rId48" Type="http://schemas.openxmlformats.org/officeDocument/2006/relationships/hyperlink" Target="https://www.figma.com/file/FDiWbHQ18CW4aVu8gYibQQ/Netze-BW-%7C-Design-Guide-1.0-(VIM-Group)?node-id=155-15432&amp;t=i5iRRkpTtnSH7zQd-0" TargetMode="External"/><Relationship Id="rId8" Type="http://schemas.openxmlformats.org/officeDocument/2006/relationships/image" Target="../media/image171.png"/><Relationship Id="rId51" Type="http://schemas.openxmlformats.org/officeDocument/2006/relationships/image" Target="../media/image21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hyperlink" Target="https://www.figma.com/file/FDiWbHQ18CW4aVu8gYibQQ/Netze-BW-%7C-Design-Guide-1.0-(VIM-Group)?node-id=155-15432&amp;t=i5iRRkpTtnSH7zQd-0" TargetMode="External"/><Relationship Id="rId1" Type="http://schemas.openxmlformats.org/officeDocument/2006/relationships/slideLayout" Target="../slideLayouts/slideLayout20.xml"/><Relationship Id="rId6" Type="http://schemas.openxmlformats.org/officeDocument/2006/relationships/hyperlink" Target="mailto:cd-check@netze-bw.de" TargetMode="External"/><Relationship Id="rId5" Type="http://schemas.openxmlformats.org/officeDocument/2006/relationships/hyperlink" Target="https://www.figma.com/file/CPRS9AHqmCY4hmVk5QbpbJ/Netze-BW-%7C-Design-Guide-1.0?node-id=155-15432&amp;t=gJhGvQbGiQqpXM1D-0" TargetMode="External"/><Relationship Id="rId4" Type="http://schemas.openxmlformats.org/officeDocument/2006/relationships/image" Target="../media/image68.sv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4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0.xml"/><Relationship Id="rId4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18.svg"/><Relationship Id="rId7" Type="http://schemas.openxmlformats.org/officeDocument/2006/relationships/image" Target="../media/image214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13.png"/><Relationship Id="rId5" Type="http://schemas.openxmlformats.org/officeDocument/2006/relationships/image" Target="../media/image44.svg"/><Relationship Id="rId4" Type="http://schemas.openxmlformats.org/officeDocument/2006/relationships/image" Target="../media/image43.png"/><Relationship Id="rId9" Type="http://schemas.openxmlformats.org/officeDocument/2006/relationships/image" Target="../media/image21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14.svg"/><Relationship Id="rId4" Type="http://schemas.openxmlformats.org/officeDocument/2006/relationships/image" Target="../media/image213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sv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2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17.jpe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.sv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sv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26.svg"/><Relationship Id="rId4" Type="http://schemas.openxmlformats.org/officeDocument/2006/relationships/image" Target="../media/image125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svg"/><Relationship Id="rId7" Type="http://schemas.openxmlformats.org/officeDocument/2006/relationships/image" Target="../media/image4.sv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.png"/><Relationship Id="rId5" Type="http://schemas.openxmlformats.org/officeDocument/2006/relationships/image" Target="../media/image126.svg"/><Relationship Id="rId4" Type="http://schemas.openxmlformats.org/officeDocument/2006/relationships/image" Target="../media/image125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sv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18.svg"/><Relationship Id="rId4" Type="http://schemas.openxmlformats.org/officeDocument/2006/relationships/image" Target="../media/image127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0.svg"/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22.svg"/><Relationship Id="rId4" Type="http://schemas.openxmlformats.org/officeDocument/2006/relationships/image" Target="../media/image221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8.sv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8.sv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0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0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0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0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8.sv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0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8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8.sv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0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0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0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20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0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0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0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3.png"/><Relationship Id="rId3" Type="http://schemas.openxmlformats.org/officeDocument/2006/relationships/image" Target="../media/image44.svg"/><Relationship Id="rId7" Type="http://schemas.openxmlformats.org/officeDocument/2006/relationships/image" Target="../media/image122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1.png"/><Relationship Id="rId11" Type="http://schemas.openxmlformats.org/officeDocument/2006/relationships/image" Target="../media/image215.svg"/><Relationship Id="rId5" Type="http://schemas.openxmlformats.org/officeDocument/2006/relationships/image" Target="../media/image48.svg"/><Relationship Id="rId10" Type="http://schemas.openxmlformats.org/officeDocument/2006/relationships/image" Target="../media/image49.png"/><Relationship Id="rId4" Type="http://schemas.openxmlformats.org/officeDocument/2006/relationships/image" Target="../media/image47.png"/><Relationship Id="rId9" Type="http://schemas.openxmlformats.org/officeDocument/2006/relationships/image" Target="../media/image214.svg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svg"/><Relationship Id="rId2" Type="http://schemas.openxmlformats.org/officeDocument/2006/relationships/image" Target="../media/image213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15.svg"/><Relationship Id="rId4" Type="http://schemas.openxmlformats.org/officeDocument/2006/relationships/image" Target="../media/image49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svg"/><Relationship Id="rId2" Type="http://schemas.openxmlformats.org/officeDocument/2006/relationships/image" Target="../media/image213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15.svg"/><Relationship Id="rId4" Type="http://schemas.openxmlformats.org/officeDocument/2006/relationships/image" Target="../media/image49.png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7" Type="http://schemas.openxmlformats.org/officeDocument/2006/relationships/image" Target="../media/image215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9.png"/><Relationship Id="rId5" Type="http://schemas.openxmlformats.org/officeDocument/2006/relationships/image" Target="../media/image214.svg"/><Relationship Id="rId4" Type="http://schemas.openxmlformats.org/officeDocument/2006/relationships/image" Target="../media/image2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15.svg"/><Relationship Id="rId3" Type="http://schemas.openxmlformats.org/officeDocument/2006/relationships/image" Target="../media/image44.svg"/><Relationship Id="rId7" Type="http://schemas.openxmlformats.org/officeDocument/2006/relationships/image" Target="../media/image122.svg"/><Relationship Id="rId12" Type="http://schemas.openxmlformats.org/officeDocument/2006/relationships/image" Target="../media/image49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1.png"/><Relationship Id="rId11" Type="http://schemas.openxmlformats.org/officeDocument/2006/relationships/image" Target="../media/image214.svg"/><Relationship Id="rId5" Type="http://schemas.openxmlformats.org/officeDocument/2006/relationships/image" Target="../media/image48.svg"/><Relationship Id="rId10" Type="http://schemas.openxmlformats.org/officeDocument/2006/relationships/image" Target="../media/image213.png"/><Relationship Id="rId4" Type="http://schemas.openxmlformats.org/officeDocument/2006/relationships/image" Target="../media/image47.png"/><Relationship Id="rId9" Type="http://schemas.openxmlformats.org/officeDocument/2006/relationships/image" Target="../media/image18.svg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7" Type="http://schemas.openxmlformats.org/officeDocument/2006/relationships/image" Target="../media/image54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3.png"/><Relationship Id="rId5" Type="http://schemas.openxmlformats.org/officeDocument/2006/relationships/image" Target="../media/image52.svg"/><Relationship Id="rId4" Type="http://schemas.openxmlformats.org/officeDocument/2006/relationships/image" Target="../media/image51.png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215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9.png"/><Relationship Id="rId5" Type="http://schemas.openxmlformats.org/officeDocument/2006/relationships/image" Target="../media/image214.svg"/><Relationship Id="rId4" Type="http://schemas.openxmlformats.org/officeDocument/2006/relationships/image" Target="../media/image213.png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svg"/><Relationship Id="rId2" Type="http://schemas.openxmlformats.org/officeDocument/2006/relationships/image" Target="../media/image213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15.svg"/><Relationship Id="rId4" Type="http://schemas.openxmlformats.org/officeDocument/2006/relationships/image" Target="../media/image49.png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36.svg"/><Relationship Id="rId7" Type="http://schemas.openxmlformats.org/officeDocument/2006/relationships/image" Target="../media/image214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13.png"/><Relationship Id="rId5" Type="http://schemas.openxmlformats.org/officeDocument/2006/relationships/image" Target="../media/image122.svg"/><Relationship Id="rId4" Type="http://schemas.openxmlformats.org/officeDocument/2006/relationships/image" Target="../media/image121.png"/><Relationship Id="rId9" Type="http://schemas.openxmlformats.org/officeDocument/2006/relationships/image" Target="../media/image2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Titel zwei- bis vierzeilig lorem ohne Bild lorem ipsu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</p:spTree>
    <p:extLst>
      <p:ext uri="{BB962C8B-B14F-4D97-AF65-F5344CB8AC3E}">
        <p14:creationId xmlns:p14="http://schemas.microsoft.com/office/powerpoint/2010/main" val="30339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28D7D7D-B7F8-4EEC-B6F9-A64BBF590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</a:t>
            </a:r>
            <a:br>
              <a:rPr lang="de-DE" dirty="0"/>
            </a:br>
            <a:r>
              <a:rPr lang="de-DE" dirty="0"/>
              <a:t>Kapitel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C059D26-2151-49DA-85D5-324FCF97E8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216786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0A9429AE-7EA5-49C0-B948-B8FA85C0387E}"/>
              </a:ext>
            </a:extLst>
          </p:cNvPr>
          <p:cNvCxnSpPr>
            <a:cxnSpLocks/>
          </p:cNvCxnSpPr>
          <p:nvPr/>
        </p:nvCxnSpPr>
        <p:spPr>
          <a:xfrm flipH="1">
            <a:off x="7400925" y="3761602"/>
            <a:ext cx="711299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Titel 3">
            <a:extLst>
              <a:ext uri="{FF2B5EF4-FFF2-40B4-BE49-F238E27FC236}">
                <a16:creationId xmlns:a16="http://schemas.microsoft.com/office/drawing/2014/main" id="{302A06B3-E259-4D73-9F06-822C4FD9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(Auswahl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6A5ABE-890C-461D-8438-ADB381D6B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2EE19-91C5-43C2-86D4-F1CCA222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0</a:t>
            </a:fld>
            <a:endParaRPr lang="de-DE"/>
          </a:p>
        </p:txBody>
      </p: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BF999F54-AA3F-470B-88B3-62F9F673BD62}"/>
              </a:ext>
            </a:extLst>
          </p:cNvPr>
          <p:cNvGrpSpPr/>
          <p:nvPr/>
        </p:nvGrpSpPr>
        <p:grpSpPr>
          <a:xfrm>
            <a:off x="4735067" y="2709314"/>
            <a:ext cx="2736000" cy="2736000"/>
            <a:chOff x="4976594" y="2843200"/>
            <a:chExt cx="2159999" cy="2159999"/>
          </a:xfrm>
        </p:grpSpPr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BD77AAD8-B56E-4143-9C7B-DEC81D60F74F}"/>
                </a:ext>
              </a:extLst>
            </p:cNvPr>
            <p:cNvSpPr/>
            <p:nvPr/>
          </p:nvSpPr>
          <p:spPr>
            <a:xfrm>
              <a:off x="4976594" y="2843200"/>
              <a:ext cx="829663" cy="689521"/>
            </a:xfrm>
            <a:custGeom>
              <a:avLst/>
              <a:gdLst>
                <a:gd name="connsiteX0" fmla="*/ 30024 w 829663"/>
                <a:gd name="connsiteY0" fmla="*/ 0 h 689521"/>
                <a:gd name="connsiteX1" fmla="*/ 689521 w 829663"/>
                <a:gd name="connsiteY1" fmla="*/ 0 h 689521"/>
                <a:gd name="connsiteX2" fmla="*/ 689521 w 829663"/>
                <a:gd name="connsiteY2" fmla="*/ 272020 h 689521"/>
                <a:gd name="connsiteX3" fmla="*/ 704631 w 829663"/>
                <a:gd name="connsiteY3" fmla="*/ 261833 h 689521"/>
                <a:gd name="connsiteX4" fmla="*/ 739663 w 829663"/>
                <a:gd name="connsiteY4" fmla="*/ 254760 h 689521"/>
                <a:gd name="connsiteX5" fmla="*/ 829663 w 829663"/>
                <a:gd name="connsiteY5" fmla="*/ 344760 h 689521"/>
                <a:gd name="connsiteX6" fmla="*/ 739663 w 829663"/>
                <a:gd name="connsiteY6" fmla="*/ 434760 h 689521"/>
                <a:gd name="connsiteX7" fmla="*/ 704631 w 829663"/>
                <a:gd name="connsiteY7" fmla="*/ 427688 h 689521"/>
                <a:gd name="connsiteX8" fmla="*/ 689521 w 829663"/>
                <a:gd name="connsiteY8" fmla="*/ 417500 h 689521"/>
                <a:gd name="connsiteX9" fmla="*/ 689521 w 829663"/>
                <a:gd name="connsiteY9" fmla="*/ 689521 h 689521"/>
                <a:gd name="connsiteX10" fmla="*/ 472382 w 829663"/>
                <a:gd name="connsiteY10" fmla="*/ 689521 h 689521"/>
                <a:gd name="connsiteX11" fmla="*/ 462439 w 829663"/>
                <a:gd name="connsiteY11" fmla="*/ 640269 h 689521"/>
                <a:gd name="connsiteX12" fmla="*/ 344760 w 829663"/>
                <a:gd name="connsiteY12" fmla="*/ 562266 h 689521"/>
                <a:gd name="connsiteX13" fmla="*/ 227082 w 829663"/>
                <a:gd name="connsiteY13" fmla="*/ 640269 h 689521"/>
                <a:gd name="connsiteX14" fmla="*/ 217138 w 829663"/>
                <a:gd name="connsiteY14" fmla="*/ 689521 h 689521"/>
                <a:gd name="connsiteX15" fmla="*/ 0 w 829663"/>
                <a:gd name="connsiteY15" fmla="*/ 689521 h 689521"/>
                <a:gd name="connsiteX16" fmla="*/ 0 w 829663"/>
                <a:gd name="connsiteY16" fmla="*/ 30024 h 689521"/>
                <a:gd name="connsiteX17" fmla="*/ 30024 w 829663"/>
                <a:gd name="connsiteY17" fmla="*/ 0 h 68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29663" h="689521">
                  <a:moveTo>
                    <a:pt x="30024" y="0"/>
                  </a:moveTo>
                  <a:lnTo>
                    <a:pt x="689521" y="0"/>
                  </a:lnTo>
                  <a:lnTo>
                    <a:pt x="689521" y="272020"/>
                  </a:lnTo>
                  <a:lnTo>
                    <a:pt x="704631" y="261833"/>
                  </a:lnTo>
                  <a:cubicBezTo>
                    <a:pt x="715398" y="257279"/>
                    <a:pt x="727237" y="254760"/>
                    <a:pt x="739663" y="254760"/>
                  </a:cubicBezTo>
                  <a:cubicBezTo>
                    <a:pt x="789369" y="254760"/>
                    <a:pt x="829663" y="295054"/>
                    <a:pt x="829663" y="344760"/>
                  </a:cubicBezTo>
                  <a:cubicBezTo>
                    <a:pt x="829663" y="394466"/>
                    <a:pt x="789369" y="434760"/>
                    <a:pt x="739663" y="434760"/>
                  </a:cubicBezTo>
                  <a:cubicBezTo>
                    <a:pt x="727237" y="434760"/>
                    <a:pt x="715398" y="432242"/>
                    <a:pt x="704631" y="427688"/>
                  </a:cubicBezTo>
                  <a:lnTo>
                    <a:pt x="689521" y="417500"/>
                  </a:lnTo>
                  <a:lnTo>
                    <a:pt x="689521" y="689521"/>
                  </a:lnTo>
                  <a:lnTo>
                    <a:pt x="472382" y="689521"/>
                  </a:lnTo>
                  <a:lnTo>
                    <a:pt x="462439" y="640269"/>
                  </a:lnTo>
                  <a:cubicBezTo>
                    <a:pt x="443051" y="594430"/>
                    <a:pt x="397662" y="562266"/>
                    <a:pt x="344760" y="562266"/>
                  </a:cubicBezTo>
                  <a:cubicBezTo>
                    <a:pt x="291859" y="562266"/>
                    <a:pt x="246470" y="594430"/>
                    <a:pt x="227082" y="640269"/>
                  </a:cubicBezTo>
                  <a:lnTo>
                    <a:pt x="217138" y="689521"/>
                  </a:lnTo>
                  <a:lnTo>
                    <a:pt x="0" y="689521"/>
                  </a:lnTo>
                  <a:lnTo>
                    <a:pt x="0" y="30024"/>
                  </a:lnTo>
                  <a:cubicBezTo>
                    <a:pt x="0" y="13442"/>
                    <a:pt x="13442" y="0"/>
                    <a:pt x="30024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C2ED094C-9197-4C3B-8687-7FDAA11D4F03}"/>
                </a:ext>
              </a:extLst>
            </p:cNvPr>
            <p:cNvSpPr/>
            <p:nvPr/>
          </p:nvSpPr>
          <p:spPr>
            <a:xfrm>
              <a:off x="6447073" y="2843200"/>
              <a:ext cx="689520" cy="826593"/>
            </a:xfrm>
            <a:custGeom>
              <a:avLst/>
              <a:gdLst>
                <a:gd name="connsiteX0" fmla="*/ 0 w 689520"/>
                <a:gd name="connsiteY0" fmla="*/ 0 h 826593"/>
                <a:gd name="connsiteX1" fmla="*/ 659496 w 689520"/>
                <a:gd name="connsiteY1" fmla="*/ 0 h 826593"/>
                <a:gd name="connsiteX2" fmla="*/ 689520 w 689520"/>
                <a:gd name="connsiteY2" fmla="*/ 30024 h 826593"/>
                <a:gd name="connsiteX3" fmla="*/ 689520 w 689520"/>
                <a:gd name="connsiteY3" fmla="*/ 689521 h 826593"/>
                <a:gd name="connsiteX4" fmla="*/ 419570 w 689520"/>
                <a:gd name="connsiteY4" fmla="*/ 689521 h 826593"/>
                <a:gd name="connsiteX5" fmla="*/ 427688 w 689520"/>
                <a:gd name="connsiteY5" fmla="*/ 701561 h 826593"/>
                <a:gd name="connsiteX6" fmla="*/ 434760 w 689520"/>
                <a:gd name="connsiteY6" fmla="*/ 736593 h 826593"/>
                <a:gd name="connsiteX7" fmla="*/ 344760 w 689520"/>
                <a:gd name="connsiteY7" fmla="*/ 826593 h 826593"/>
                <a:gd name="connsiteX8" fmla="*/ 254760 w 689520"/>
                <a:gd name="connsiteY8" fmla="*/ 736593 h 826593"/>
                <a:gd name="connsiteX9" fmla="*/ 261833 w 689520"/>
                <a:gd name="connsiteY9" fmla="*/ 701561 h 826593"/>
                <a:gd name="connsiteX10" fmla="*/ 269950 w 689520"/>
                <a:gd name="connsiteY10" fmla="*/ 689521 h 826593"/>
                <a:gd name="connsiteX11" fmla="*/ 0 w 689520"/>
                <a:gd name="connsiteY11" fmla="*/ 689521 h 826593"/>
                <a:gd name="connsiteX12" fmla="*/ 0 w 689520"/>
                <a:gd name="connsiteY12" fmla="*/ 471956 h 826593"/>
                <a:gd name="connsiteX13" fmla="*/ 47141 w 689520"/>
                <a:gd name="connsiteY13" fmla="*/ 462439 h 826593"/>
                <a:gd name="connsiteX14" fmla="*/ 125143 w 689520"/>
                <a:gd name="connsiteY14" fmla="*/ 344760 h 826593"/>
                <a:gd name="connsiteX15" fmla="*/ 47141 w 689520"/>
                <a:gd name="connsiteY15" fmla="*/ 227082 h 826593"/>
                <a:gd name="connsiteX16" fmla="*/ 0 w 689520"/>
                <a:gd name="connsiteY16" fmla="*/ 217564 h 8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89520" h="826593">
                  <a:moveTo>
                    <a:pt x="0" y="0"/>
                  </a:moveTo>
                  <a:lnTo>
                    <a:pt x="659496" y="0"/>
                  </a:lnTo>
                  <a:cubicBezTo>
                    <a:pt x="676078" y="0"/>
                    <a:pt x="689520" y="13442"/>
                    <a:pt x="689520" y="30024"/>
                  </a:cubicBezTo>
                  <a:lnTo>
                    <a:pt x="689520" y="689521"/>
                  </a:lnTo>
                  <a:lnTo>
                    <a:pt x="419570" y="689521"/>
                  </a:lnTo>
                  <a:lnTo>
                    <a:pt x="427688" y="701561"/>
                  </a:lnTo>
                  <a:cubicBezTo>
                    <a:pt x="432242" y="712328"/>
                    <a:pt x="434760" y="724167"/>
                    <a:pt x="434760" y="736593"/>
                  </a:cubicBezTo>
                  <a:cubicBezTo>
                    <a:pt x="434760" y="786299"/>
                    <a:pt x="394466" y="826593"/>
                    <a:pt x="344760" y="826593"/>
                  </a:cubicBezTo>
                  <a:cubicBezTo>
                    <a:pt x="295054" y="826593"/>
                    <a:pt x="254760" y="786299"/>
                    <a:pt x="254760" y="736593"/>
                  </a:cubicBezTo>
                  <a:cubicBezTo>
                    <a:pt x="254760" y="724167"/>
                    <a:pt x="257279" y="712328"/>
                    <a:pt x="261833" y="701561"/>
                  </a:cubicBezTo>
                  <a:lnTo>
                    <a:pt x="269950" y="689521"/>
                  </a:lnTo>
                  <a:lnTo>
                    <a:pt x="0" y="689521"/>
                  </a:lnTo>
                  <a:lnTo>
                    <a:pt x="0" y="471956"/>
                  </a:lnTo>
                  <a:lnTo>
                    <a:pt x="47141" y="462439"/>
                  </a:lnTo>
                  <a:cubicBezTo>
                    <a:pt x="92980" y="443050"/>
                    <a:pt x="125143" y="397661"/>
                    <a:pt x="125143" y="344760"/>
                  </a:cubicBezTo>
                  <a:cubicBezTo>
                    <a:pt x="125143" y="291859"/>
                    <a:pt x="92980" y="246470"/>
                    <a:pt x="47141" y="227082"/>
                  </a:cubicBezTo>
                  <a:lnTo>
                    <a:pt x="0" y="2175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1B298EBF-FA2E-4EF2-A9DC-B999A0D4EE54}"/>
                </a:ext>
              </a:extLst>
            </p:cNvPr>
            <p:cNvSpPr/>
            <p:nvPr/>
          </p:nvSpPr>
          <p:spPr>
            <a:xfrm>
              <a:off x="5711834" y="3578439"/>
              <a:ext cx="689521" cy="827620"/>
            </a:xfrm>
            <a:custGeom>
              <a:avLst/>
              <a:gdLst>
                <a:gd name="connsiteX0" fmla="*/ 0 w 689521"/>
                <a:gd name="connsiteY0" fmla="*/ 0 h 827620"/>
                <a:gd name="connsiteX1" fmla="*/ 217318 w 689521"/>
                <a:gd name="connsiteY1" fmla="*/ 0 h 827620"/>
                <a:gd name="connsiteX2" fmla="*/ 217045 w 689521"/>
                <a:gd name="connsiteY2" fmla="*/ 1353 h 827620"/>
                <a:gd name="connsiteX3" fmla="*/ 344760 w 689521"/>
                <a:gd name="connsiteY3" fmla="*/ 129068 h 827620"/>
                <a:gd name="connsiteX4" fmla="*/ 472475 w 689521"/>
                <a:gd name="connsiteY4" fmla="*/ 1353 h 827620"/>
                <a:gd name="connsiteX5" fmla="*/ 472202 w 689521"/>
                <a:gd name="connsiteY5" fmla="*/ 0 h 827620"/>
                <a:gd name="connsiteX6" fmla="*/ 689521 w 689521"/>
                <a:gd name="connsiteY6" fmla="*/ 0 h 827620"/>
                <a:gd name="connsiteX7" fmla="*/ 689521 w 689521"/>
                <a:gd name="connsiteY7" fmla="*/ 217352 h 827620"/>
                <a:gd name="connsiteX8" fmla="*/ 688000 w 689521"/>
                <a:gd name="connsiteY8" fmla="*/ 217045 h 827620"/>
                <a:gd name="connsiteX9" fmla="*/ 560285 w 689521"/>
                <a:gd name="connsiteY9" fmla="*/ 344760 h 827620"/>
                <a:gd name="connsiteX10" fmla="*/ 688000 w 689521"/>
                <a:gd name="connsiteY10" fmla="*/ 472475 h 827620"/>
                <a:gd name="connsiteX11" fmla="*/ 689521 w 689521"/>
                <a:gd name="connsiteY11" fmla="*/ 472168 h 827620"/>
                <a:gd name="connsiteX12" fmla="*/ 689521 w 689521"/>
                <a:gd name="connsiteY12" fmla="*/ 689521 h 827620"/>
                <a:gd name="connsiteX13" fmla="*/ 418878 w 689521"/>
                <a:gd name="connsiteY13" fmla="*/ 689521 h 827620"/>
                <a:gd name="connsiteX14" fmla="*/ 427688 w 689521"/>
                <a:gd name="connsiteY14" fmla="*/ 702588 h 827620"/>
                <a:gd name="connsiteX15" fmla="*/ 434760 w 689521"/>
                <a:gd name="connsiteY15" fmla="*/ 737620 h 827620"/>
                <a:gd name="connsiteX16" fmla="*/ 344760 w 689521"/>
                <a:gd name="connsiteY16" fmla="*/ 827620 h 827620"/>
                <a:gd name="connsiteX17" fmla="*/ 254760 w 689521"/>
                <a:gd name="connsiteY17" fmla="*/ 737620 h 827620"/>
                <a:gd name="connsiteX18" fmla="*/ 261833 w 689521"/>
                <a:gd name="connsiteY18" fmla="*/ 702588 h 827620"/>
                <a:gd name="connsiteX19" fmla="*/ 270643 w 689521"/>
                <a:gd name="connsiteY19" fmla="*/ 689521 h 827620"/>
                <a:gd name="connsiteX20" fmla="*/ 0 w 689521"/>
                <a:gd name="connsiteY20" fmla="*/ 689521 h 827620"/>
                <a:gd name="connsiteX21" fmla="*/ 0 w 689521"/>
                <a:gd name="connsiteY21" fmla="*/ 471857 h 827620"/>
                <a:gd name="connsiteX22" fmla="*/ 3063 w 689521"/>
                <a:gd name="connsiteY22" fmla="*/ 472475 h 827620"/>
                <a:gd name="connsiteX23" fmla="*/ 130778 w 689521"/>
                <a:gd name="connsiteY23" fmla="*/ 344760 h 827620"/>
                <a:gd name="connsiteX24" fmla="*/ 3063 w 689521"/>
                <a:gd name="connsiteY24" fmla="*/ 217045 h 827620"/>
                <a:gd name="connsiteX25" fmla="*/ 0 w 689521"/>
                <a:gd name="connsiteY25" fmla="*/ 217664 h 82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89521" h="827620">
                  <a:moveTo>
                    <a:pt x="0" y="0"/>
                  </a:moveTo>
                  <a:lnTo>
                    <a:pt x="217318" y="0"/>
                  </a:lnTo>
                  <a:lnTo>
                    <a:pt x="217045" y="1353"/>
                  </a:lnTo>
                  <a:cubicBezTo>
                    <a:pt x="217045" y="71888"/>
                    <a:pt x="274225" y="129068"/>
                    <a:pt x="344760" y="129068"/>
                  </a:cubicBezTo>
                  <a:cubicBezTo>
                    <a:pt x="415295" y="129068"/>
                    <a:pt x="472475" y="71888"/>
                    <a:pt x="472475" y="1353"/>
                  </a:cubicBezTo>
                  <a:lnTo>
                    <a:pt x="472202" y="0"/>
                  </a:lnTo>
                  <a:lnTo>
                    <a:pt x="689521" y="0"/>
                  </a:lnTo>
                  <a:lnTo>
                    <a:pt x="689521" y="217352"/>
                  </a:lnTo>
                  <a:lnTo>
                    <a:pt x="688000" y="217045"/>
                  </a:lnTo>
                  <a:cubicBezTo>
                    <a:pt x="617465" y="217045"/>
                    <a:pt x="560285" y="274225"/>
                    <a:pt x="560285" y="344760"/>
                  </a:cubicBezTo>
                  <a:cubicBezTo>
                    <a:pt x="560285" y="415295"/>
                    <a:pt x="617465" y="472475"/>
                    <a:pt x="688000" y="472475"/>
                  </a:cubicBezTo>
                  <a:lnTo>
                    <a:pt x="689521" y="472168"/>
                  </a:lnTo>
                  <a:lnTo>
                    <a:pt x="689521" y="689521"/>
                  </a:lnTo>
                  <a:lnTo>
                    <a:pt x="418878" y="689521"/>
                  </a:lnTo>
                  <a:lnTo>
                    <a:pt x="427688" y="702588"/>
                  </a:lnTo>
                  <a:cubicBezTo>
                    <a:pt x="432242" y="713355"/>
                    <a:pt x="434760" y="725194"/>
                    <a:pt x="434760" y="737620"/>
                  </a:cubicBezTo>
                  <a:cubicBezTo>
                    <a:pt x="434760" y="787326"/>
                    <a:pt x="394466" y="827620"/>
                    <a:pt x="344760" y="827620"/>
                  </a:cubicBezTo>
                  <a:cubicBezTo>
                    <a:pt x="295054" y="827620"/>
                    <a:pt x="254760" y="787326"/>
                    <a:pt x="254760" y="737620"/>
                  </a:cubicBezTo>
                  <a:cubicBezTo>
                    <a:pt x="254760" y="725194"/>
                    <a:pt x="257279" y="713355"/>
                    <a:pt x="261833" y="702588"/>
                  </a:cubicBezTo>
                  <a:lnTo>
                    <a:pt x="270643" y="689521"/>
                  </a:lnTo>
                  <a:lnTo>
                    <a:pt x="0" y="689521"/>
                  </a:lnTo>
                  <a:lnTo>
                    <a:pt x="0" y="471857"/>
                  </a:lnTo>
                  <a:lnTo>
                    <a:pt x="3063" y="472475"/>
                  </a:lnTo>
                  <a:cubicBezTo>
                    <a:pt x="73598" y="472475"/>
                    <a:pt x="130778" y="415295"/>
                    <a:pt x="130778" y="344760"/>
                  </a:cubicBezTo>
                  <a:cubicBezTo>
                    <a:pt x="130778" y="274225"/>
                    <a:pt x="73598" y="217045"/>
                    <a:pt x="3063" y="217045"/>
                  </a:cubicBezTo>
                  <a:lnTo>
                    <a:pt x="0" y="2176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D7C8C43E-75E9-496B-9BF8-1E531E13C4F2}"/>
                </a:ext>
              </a:extLst>
            </p:cNvPr>
            <p:cNvSpPr/>
            <p:nvPr/>
          </p:nvSpPr>
          <p:spPr>
            <a:xfrm>
              <a:off x="4976594" y="4175576"/>
              <a:ext cx="689521" cy="827623"/>
            </a:xfrm>
            <a:custGeom>
              <a:avLst/>
              <a:gdLst>
                <a:gd name="connsiteX0" fmla="*/ 344760 w 689521"/>
                <a:gd name="connsiteY0" fmla="*/ 0 h 827623"/>
                <a:gd name="connsiteX1" fmla="*/ 434760 w 689521"/>
                <a:gd name="connsiteY1" fmla="*/ 90000 h 827623"/>
                <a:gd name="connsiteX2" fmla="*/ 427688 w 689521"/>
                <a:gd name="connsiteY2" fmla="*/ 125032 h 827623"/>
                <a:gd name="connsiteX3" fmla="*/ 418875 w 689521"/>
                <a:gd name="connsiteY3" fmla="*/ 138103 h 827623"/>
                <a:gd name="connsiteX4" fmla="*/ 689521 w 689521"/>
                <a:gd name="connsiteY4" fmla="*/ 138103 h 827623"/>
                <a:gd name="connsiteX5" fmla="*/ 689521 w 689521"/>
                <a:gd name="connsiteY5" fmla="*/ 355148 h 827623"/>
                <a:gd name="connsiteX6" fmla="*/ 561806 w 689521"/>
                <a:gd name="connsiteY6" fmla="*/ 482863 h 827623"/>
                <a:gd name="connsiteX7" fmla="*/ 689521 w 689521"/>
                <a:gd name="connsiteY7" fmla="*/ 610578 h 827623"/>
                <a:gd name="connsiteX8" fmla="*/ 689521 w 689521"/>
                <a:gd name="connsiteY8" fmla="*/ 827623 h 827623"/>
                <a:gd name="connsiteX9" fmla="*/ 30024 w 689521"/>
                <a:gd name="connsiteY9" fmla="*/ 827623 h 827623"/>
                <a:gd name="connsiteX10" fmla="*/ 0 w 689521"/>
                <a:gd name="connsiteY10" fmla="*/ 797599 h 827623"/>
                <a:gd name="connsiteX11" fmla="*/ 0 w 689521"/>
                <a:gd name="connsiteY11" fmla="*/ 138103 h 827623"/>
                <a:gd name="connsiteX12" fmla="*/ 270645 w 689521"/>
                <a:gd name="connsiteY12" fmla="*/ 138103 h 827623"/>
                <a:gd name="connsiteX13" fmla="*/ 261833 w 689521"/>
                <a:gd name="connsiteY13" fmla="*/ 125032 h 827623"/>
                <a:gd name="connsiteX14" fmla="*/ 254760 w 689521"/>
                <a:gd name="connsiteY14" fmla="*/ 90000 h 827623"/>
                <a:gd name="connsiteX15" fmla="*/ 344760 w 689521"/>
                <a:gd name="connsiteY15" fmla="*/ 0 h 82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89521" h="827623">
                  <a:moveTo>
                    <a:pt x="344760" y="0"/>
                  </a:moveTo>
                  <a:cubicBezTo>
                    <a:pt x="394466" y="0"/>
                    <a:pt x="434760" y="40294"/>
                    <a:pt x="434760" y="90000"/>
                  </a:cubicBezTo>
                  <a:cubicBezTo>
                    <a:pt x="434760" y="102426"/>
                    <a:pt x="432242" y="114265"/>
                    <a:pt x="427688" y="125032"/>
                  </a:cubicBezTo>
                  <a:lnTo>
                    <a:pt x="418875" y="138103"/>
                  </a:lnTo>
                  <a:lnTo>
                    <a:pt x="689521" y="138103"/>
                  </a:lnTo>
                  <a:lnTo>
                    <a:pt x="689521" y="355148"/>
                  </a:lnTo>
                  <a:cubicBezTo>
                    <a:pt x="618986" y="355148"/>
                    <a:pt x="561806" y="412328"/>
                    <a:pt x="561806" y="482863"/>
                  </a:cubicBezTo>
                  <a:cubicBezTo>
                    <a:pt x="561806" y="553398"/>
                    <a:pt x="618986" y="610578"/>
                    <a:pt x="689521" y="610578"/>
                  </a:cubicBezTo>
                  <a:lnTo>
                    <a:pt x="689521" y="827623"/>
                  </a:lnTo>
                  <a:lnTo>
                    <a:pt x="30024" y="827623"/>
                  </a:lnTo>
                  <a:cubicBezTo>
                    <a:pt x="13442" y="827623"/>
                    <a:pt x="0" y="814181"/>
                    <a:pt x="0" y="797599"/>
                  </a:cubicBezTo>
                  <a:lnTo>
                    <a:pt x="0" y="138103"/>
                  </a:lnTo>
                  <a:lnTo>
                    <a:pt x="270645" y="138103"/>
                  </a:lnTo>
                  <a:lnTo>
                    <a:pt x="261833" y="125032"/>
                  </a:lnTo>
                  <a:cubicBezTo>
                    <a:pt x="257279" y="114265"/>
                    <a:pt x="254760" y="102426"/>
                    <a:pt x="254760" y="90000"/>
                  </a:cubicBezTo>
                  <a:cubicBezTo>
                    <a:pt x="254760" y="40294"/>
                    <a:pt x="295054" y="0"/>
                    <a:pt x="34476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D0809690-2ABA-4BCA-B833-A7FC00BDE65E}"/>
                </a:ext>
              </a:extLst>
            </p:cNvPr>
            <p:cNvSpPr/>
            <p:nvPr/>
          </p:nvSpPr>
          <p:spPr>
            <a:xfrm>
              <a:off x="6312036" y="4313679"/>
              <a:ext cx="824557" cy="689520"/>
            </a:xfrm>
            <a:custGeom>
              <a:avLst/>
              <a:gdLst>
                <a:gd name="connsiteX0" fmla="*/ 135037 w 824557"/>
                <a:gd name="connsiteY0" fmla="*/ 0 h 689520"/>
                <a:gd name="connsiteX1" fmla="*/ 352563 w 824557"/>
                <a:gd name="connsiteY1" fmla="*/ 0 h 689520"/>
                <a:gd name="connsiteX2" fmla="*/ 352082 w 824557"/>
                <a:gd name="connsiteY2" fmla="*/ 2381 h 689520"/>
                <a:gd name="connsiteX3" fmla="*/ 479797 w 824557"/>
                <a:gd name="connsiteY3" fmla="*/ 130096 h 689520"/>
                <a:gd name="connsiteX4" fmla="*/ 607512 w 824557"/>
                <a:gd name="connsiteY4" fmla="*/ 2381 h 689520"/>
                <a:gd name="connsiteX5" fmla="*/ 607032 w 824557"/>
                <a:gd name="connsiteY5" fmla="*/ 0 h 689520"/>
                <a:gd name="connsiteX6" fmla="*/ 824557 w 824557"/>
                <a:gd name="connsiteY6" fmla="*/ 0 h 689520"/>
                <a:gd name="connsiteX7" fmla="*/ 824557 w 824557"/>
                <a:gd name="connsiteY7" fmla="*/ 659496 h 689520"/>
                <a:gd name="connsiteX8" fmla="*/ 794533 w 824557"/>
                <a:gd name="connsiteY8" fmla="*/ 689520 h 689520"/>
                <a:gd name="connsiteX9" fmla="*/ 135037 w 824557"/>
                <a:gd name="connsiteY9" fmla="*/ 689520 h 689520"/>
                <a:gd name="connsiteX10" fmla="*/ 135037 w 824557"/>
                <a:gd name="connsiteY10" fmla="*/ 420942 h 689520"/>
                <a:gd name="connsiteX11" fmla="*/ 125032 w 824557"/>
                <a:gd name="connsiteY11" fmla="*/ 427688 h 689520"/>
                <a:gd name="connsiteX12" fmla="*/ 90000 w 824557"/>
                <a:gd name="connsiteY12" fmla="*/ 434760 h 689520"/>
                <a:gd name="connsiteX13" fmla="*/ 0 w 824557"/>
                <a:gd name="connsiteY13" fmla="*/ 344760 h 689520"/>
                <a:gd name="connsiteX14" fmla="*/ 90000 w 824557"/>
                <a:gd name="connsiteY14" fmla="*/ 254760 h 689520"/>
                <a:gd name="connsiteX15" fmla="*/ 125032 w 824557"/>
                <a:gd name="connsiteY15" fmla="*/ 261833 h 689520"/>
                <a:gd name="connsiteX16" fmla="*/ 135037 w 824557"/>
                <a:gd name="connsiteY16" fmla="*/ 268578 h 68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24557" h="689520">
                  <a:moveTo>
                    <a:pt x="135037" y="0"/>
                  </a:moveTo>
                  <a:lnTo>
                    <a:pt x="352563" y="0"/>
                  </a:lnTo>
                  <a:lnTo>
                    <a:pt x="352082" y="2381"/>
                  </a:lnTo>
                  <a:cubicBezTo>
                    <a:pt x="352082" y="72916"/>
                    <a:pt x="409262" y="130096"/>
                    <a:pt x="479797" y="130096"/>
                  </a:cubicBezTo>
                  <a:cubicBezTo>
                    <a:pt x="550332" y="130096"/>
                    <a:pt x="607512" y="72916"/>
                    <a:pt x="607512" y="2381"/>
                  </a:cubicBezTo>
                  <a:lnTo>
                    <a:pt x="607032" y="0"/>
                  </a:lnTo>
                  <a:lnTo>
                    <a:pt x="824557" y="0"/>
                  </a:lnTo>
                  <a:lnTo>
                    <a:pt x="824557" y="659496"/>
                  </a:lnTo>
                  <a:cubicBezTo>
                    <a:pt x="824557" y="676078"/>
                    <a:pt x="811115" y="689520"/>
                    <a:pt x="794533" y="689520"/>
                  </a:cubicBezTo>
                  <a:lnTo>
                    <a:pt x="135037" y="689520"/>
                  </a:lnTo>
                  <a:lnTo>
                    <a:pt x="135037" y="420942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5037" y="26857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77AE7907-9A6C-4EBA-B817-DDF9B0D856EC}"/>
                </a:ext>
              </a:extLst>
            </p:cNvPr>
            <p:cNvSpPr/>
            <p:nvPr/>
          </p:nvSpPr>
          <p:spPr>
            <a:xfrm>
              <a:off x="5711834" y="2843200"/>
              <a:ext cx="822667" cy="826593"/>
            </a:xfrm>
            <a:custGeom>
              <a:avLst/>
              <a:gdLst>
                <a:gd name="connsiteX0" fmla="*/ 0 w 822667"/>
                <a:gd name="connsiteY0" fmla="*/ 0 h 826593"/>
                <a:gd name="connsiteX1" fmla="*/ 689521 w 822667"/>
                <a:gd name="connsiteY1" fmla="*/ 0 h 826593"/>
                <a:gd name="connsiteX2" fmla="*/ 689521 w 822667"/>
                <a:gd name="connsiteY2" fmla="*/ 267303 h 826593"/>
                <a:gd name="connsiteX3" fmla="*/ 697635 w 822667"/>
                <a:gd name="connsiteY3" fmla="*/ 261833 h 826593"/>
                <a:gd name="connsiteX4" fmla="*/ 732667 w 822667"/>
                <a:gd name="connsiteY4" fmla="*/ 254760 h 826593"/>
                <a:gd name="connsiteX5" fmla="*/ 822667 w 822667"/>
                <a:gd name="connsiteY5" fmla="*/ 344760 h 826593"/>
                <a:gd name="connsiteX6" fmla="*/ 732667 w 822667"/>
                <a:gd name="connsiteY6" fmla="*/ 434760 h 826593"/>
                <a:gd name="connsiteX7" fmla="*/ 697635 w 822667"/>
                <a:gd name="connsiteY7" fmla="*/ 427688 h 826593"/>
                <a:gd name="connsiteX8" fmla="*/ 689521 w 822667"/>
                <a:gd name="connsiteY8" fmla="*/ 422217 h 826593"/>
                <a:gd name="connsiteX9" fmla="*/ 689521 w 822667"/>
                <a:gd name="connsiteY9" fmla="*/ 689521 h 826593"/>
                <a:gd name="connsiteX10" fmla="*/ 419570 w 822667"/>
                <a:gd name="connsiteY10" fmla="*/ 689521 h 826593"/>
                <a:gd name="connsiteX11" fmla="*/ 427688 w 822667"/>
                <a:gd name="connsiteY11" fmla="*/ 701561 h 826593"/>
                <a:gd name="connsiteX12" fmla="*/ 434760 w 822667"/>
                <a:gd name="connsiteY12" fmla="*/ 736593 h 826593"/>
                <a:gd name="connsiteX13" fmla="*/ 344760 w 822667"/>
                <a:gd name="connsiteY13" fmla="*/ 826593 h 826593"/>
                <a:gd name="connsiteX14" fmla="*/ 254760 w 822667"/>
                <a:gd name="connsiteY14" fmla="*/ 736593 h 826593"/>
                <a:gd name="connsiteX15" fmla="*/ 261833 w 822667"/>
                <a:gd name="connsiteY15" fmla="*/ 701561 h 826593"/>
                <a:gd name="connsiteX16" fmla="*/ 269950 w 822667"/>
                <a:gd name="connsiteY16" fmla="*/ 689521 h 826593"/>
                <a:gd name="connsiteX17" fmla="*/ 0 w 822667"/>
                <a:gd name="connsiteY17" fmla="*/ 689521 h 826593"/>
                <a:gd name="connsiteX18" fmla="*/ 0 w 822667"/>
                <a:gd name="connsiteY18" fmla="*/ 471582 h 826593"/>
                <a:gd name="connsiteX19" fmla="*/ 4423 w 822667"/>
                <a:gd name="connsiteY19" fmla="*/ 472475 h 826593"/>
                <a:gd name="connsiteX20" fmla="*/ 132138 w 822667"/>
                <a:gd name="connsiteY20" fmla="*/ 344760 h 826593"/>
                <a:gd name="connsiteX21" fmla="*/ 4423 w 822667"/>
                <a:gd name="connsiteY21" fmla="*/ 217045 h 826593"/>
                <a:gd name="connsiteX22" fmla="*/ 0 w 822667"/>
                <a:gd name="connsiteY22" fmla="*/ 217938 h 8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2667" h="826593">
                  <a:moveTo>
                    <a:pt x="0" y="0"/>
                  </a:moveTo>
                  <a:lnTo>
                    <a:pt x="689521" y="0"/>
                  </a:lnTo>
                  <a:lnTo>
                    <a:pt x="689521" y="267303"/>
                  </a:lnTo>
                  <a:lnTo>
                    <a:pt x="697635" y="261833"/>
                  </a:lnTo>
                  <a:cubicBezTo>
                    <a:pt x="708403" y="257279"/>
                    <a:pt x="720241" y="254760"/>
                    <a:pt x="732667" y="254760"/>
                  </a:cubicBezTo>
                  <a:cubicBezTo>
                    <a:pt x="782373" y="254760"/>
                    <a:pt x="822667" y="295054"/>
                    <a:pt x="822667" y="344760"/>
                  </a:cubicBezTo>
                  <a:cubicBezTo>
                    <a:pt x="822667" y="394466"/>
                    <a:pt x="782373" y="434760"/>
                    <a:pt x="732667" y="434760"/>
                  </a:cubicBezTo>
                  <a:cubicBezTo>
                    <a:pt x="720241" y="434760"/>
                    <a:pt x="708403" y="432242"/>
                    <a:pt x="697635" y="427688"/>
                  </a:cubicBezTo>
                  <a:lnTo>
                    <a:pt x="689521" y="422217"/>
                  </a:lnTo>
                  <a:lnTo>
                    <a:pt x="689521" y="689521"/>
                  </a:lnTo>
                  <a:lnTo>
                    <a:pt x="419570" y="689521"/>
                  </a:lnTo>
                  <a:lnTo>
                    <a:pt x="427688" y="701561"/>
                  </a:lnTo>
                  <a:cubicBezTo>
                    <a:pt x="432242" y="712328"/>
                    <a:pt x="434760" y="724167"/>
                    <a:pt x="434760" y="736593"/>
                  </a:cubicBezTo>
                  <a:cubicBezTo>
                    <a:pt x="434760" y="786299"/>
                    <a:pt x="394466" y="826593"/>
                    <a:pt x="344760" y="826593"/>
                  </a:cubicBezTo>
                  <a:cubicBezTo>
                    <a:pt x="295054" y="826593"/>
                    <a:pt x="254760" y="786299"/>
                    <a:pt x="254760" y="736593"/>
                  </a:cubicBezTo>
                  <a:cubicBezTo>
                    <a:pt x="254760" y="724167"/>
                    <a:pt x="257279" y="712328"/>
                    <a:pt x="261833" y="701561"/>
                  </a:cubicBezTo>
                  <a:lnTo>
                    <a:pt x="269950" y="689521"/>
                  </a:lnTo>
                  <a:lnTo>
                    <a:pt x="0" y="689521"/>
                  </a:lnTo>
                  <a:lnTo>
                    <a:pt x="0" y="471582"/>
                  </a:lnTo>
                  <a:lnTo>
                    <a:pt x="4423" y="472475"/>
                  </a:lnTo>
                  <a:cubicBezTo>
                    <a:pt x="74958" y="472475"/>
                    <a:pt x="132138" y="415295"/>
                    <a:pt x="132138" y="344760"/>
                  </a:cubicBezTo>
                  <a:cubicBezTo>
                    <a:pt x="132138" y="274225"/>
                    <a:pt x="74958" y="217045"/>
                    <a:pt x="4423" y="217045"/>
                  </a:cubicBezTo>
                  <a:lnTo>
                    <a:pt x="0" y="21793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B5A90AF6-B2B2-4BA8-BBDD-24227C035B22}"/>
                </a:ext>
              </a:extLst>
            </p:cNvPr>
            <p:cNvSpPr/>
            <p:nvPr/>
          </p:nvSpPr>
          <p:spPr>
            <a:xfrm>
              <a:off x="4976594" y="3443180"/>
              <a:ext cx="828303" cy="824780"/>
            </a:xfrm>
            <a:custGeom>
              <a:avLst/>
              <a:gdLst>
                <a:gd name="connsiteX0" fmla="*/ 344760 w 828303"/>
                <a:gd name="connsiteY0" fmla="*/ 0 h 824780"/>
                <a:gd name="connsiteX1" fmla="*/ 434760 w 828303"/>
                <a:gd name="connsiteY1" fmla="*/ 90000 h 824780"/>
                <a:gd name="connsiteX2" fmla="*/ 427688 w 828303"/>
                <a:gd name="connsiteY2" fmla="*/ 125032 h 824780"/>
                <a:gd name="connsiteX3" fmla="*/ 420793 w 828303"/>
                <a:gd name="connsiteY3" fmla="*/ 135259 h 824780"/>
                <a:gd name="connsiteX4" fmla="*/ 689521 w 828303"/>
                <a:gd name="connsiteY4" fmla="*/ 135259 h 824780"/>
                <a:gd name="connsiteX5" fmla="*/ 689521 w 828303"/>
                <a:gd name="connsiteY5" fmla="*/ 406362 h 824780"/>
                <a:gd name="connsiteX6" fmla="*/ 703271 w 828303"/>
                <a:gd name="connsiteY6" fmla="*/ 397092 h 824780"/>
                <a:gd name="connsiteX7" fmla="*/ 738303 w 828303"/>
                <a:gd name="connsiteY7" fmla="*/ 390019 h 824780"/>
                <a:gd name="connsiteX8" fmla="*/ 828303 w 828303"/>
                <a:gd name="connsiteY8" fmla="*/ 480019 h 824780"/>
                <a:gd name="connsiteX9" fmla="*/ 738303 w 828303"/>
                <a:gd name="connsiteY9" fmla="*/ 570019 h 824780"/>
                <a:gd name="connsiteX10" fmla="*/ 703271 w 828303"/>
                <a:gd name="connsiteY10" fmla="*/ 562947 h 824780"/>
                <a:gd name="connsiteX11" fmla="*/ 689521 w 828303"/>
                <a:gd name="connsiteY11" fmla="*/ 553676 h 824780"/>
                <a:gd name="connsiteX12" fmla="*/ 689521 w 828303"/>
                <a:gd name="connsiteY12" fmla="*/ 824780 h 824780"/>
                <a:gd name="connsiteX13" fmla="*/ 471994 w 828303"/>
                <a:gd name="connsiteY13" fmla="*/ 824780 h 824780"/>
                <a:gd name="connsiteX14" fmla="*/ 472475 w 828303"/>
                <a:gd name="connsiteY14" fmla="*/ 822395 h 824780"/>
                <a:gd name="connsiteX15" fmla="*/ 344760 w 828303"/>
                <a:gd name="connsiteY15" fmla="*/ 694680 h 824780"/>
                <a:gd name="connsiteX16" fmla="*/ 217045 w 828303"/>
                <a:gd name="connsiteY16" fmla="*/ 822395 h 824780"/>
                <a:gd name="connsiteX17" fmla="*/ 217527 w 828303"/>
                <a:gd name="connsiteY17" fmla="*/ 824780 h 824780"/>
                <a:gd name="connsiteX18" fmla="*/ 0 w 828303"/>
                <a:gd name="connsiteY18" fmla="*/ 824780 h 824780"/>
                <a:gd name="connsiteX19" fmla="*/ 0 w 828303"/>
                <a:gd name="connsiteY19" fmla="*/ 135259 h 824780"/>
                <a:gd name="connsiteX20" fmla="*/ 268728 w 828303"/>
                <a:gd name="connsiteY20" fmla="*/ 135259 h 824780"/>
                <a:gd name="connsiteX21" fmla="*/ 261833 w 828303"/>
                <a:gd name="connsiteY21" fmla="*/ 125032 h 824780"/>
                <a:gd name="connsiteX22" fmla="*/ 254760 w 828303"/>
                <a:gd name="connsiteY22" fmla="*/ 90000 h 824780"/>
                <a:gd name="connsiteX23" fmla="*/ 344760 w 828303"/>
                <a:gd name="connsiteY23" fmla="*/ 0 h 82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28303" h="824780">
                  <a:moveTo>
                    <a:pt x="344760" y="0"/>
                  </a:moveTo>
                  <a:cubicBezTo>
                    <a:pt x="394466" y="0"/>
                    <a:pt x="434760" y="40294"/>
                    <a:pt x="434760" y="90000"/>
                  </a:cubicBezTo>
                  <a:cubicBezTo>
                    <a:pt x="434760" y="102426"/>
                    <a:pt x="432242" y="114265"/>
                    <a:pt x="427688" y="125032"/>
                  </a:cubicBezTo>
                  <a:lnTo>
                    <a:pt x="420793" y="135259"/>
                  </a:lnTo>
                  <a:lnTo>
                    <a:pt x="689521" y="135259"/>
                  </a:lnTo>
                  <a:lnTo>
                    <a:pt x="689521" y="406362"/>
                  </a:lnTo>
                  <a:lnTo>
                    <a:pt x="703271" y="397092"/>
                  </a:lnTo>
                  <a:cubicBezTo>
                    <a:pt x="714039" y="392538"/>
                    <a:pt x="725877" y="390019"/>
                    <a:pt x="738303" y="390019"/>
                  </a:cubicBezTo>
                  <a:cubicBezTo>
                    <a:pt x="788009" y="390019"/>
                    <a:pt x="828303" y="430313"/>
                    <a:pt x="828303" y="480019"/>
                  </a:cubicBezTo>
                  <a:cubicBezTo>
                    <a:pt x="828303" y="529725"/>
                    <a:pt x="788009" y="570019"/>
                    <a:pt x="738303" y="570019"/>
                  </a:cubicBezTo>
                  <a:cubicBezTo>
                    <a:pt x="725877" y="570019"/>
                    <a:pt x="714039" y="567501"/>
                    <a:pt x="703271" y="562947"/>
                  </a:cubicBezTo>
                  <a:lnTo>
                    <a:pt x="689521" y="553676"/>
                  </a:lnTo>
                  <a:lnTo>
                    <a:pt x="689521" y="824780"/>
                  </a:lnTo>
                  <a:lnTo>
                    <a:pt x="471994" y="824780"/>
                  </a:lnTo>
                  <a:lnTo>
                    <a:pt x="472475" y="822395"/>
                  </a:lnTo>
                  <a:cubicBezTo>
                    <a:pt x="472475" y="751860"/>
                    <a:pt x="415295" y="694680"/>
                    <a:pt x="344760" y="694680"/>
                  </a:cubicBezTo>
                  <a:cubicBezTo>
                    <a:pt x="274225" y="694680"/>
                    <a:pt x="217045" y="751860"/>
                    <a:pt x="217045" y="822395"/>
                  </a:cubicBezTo>
                  <a:lnTo>
                    <a:pt x="217527" y="824780"/>
                  </a:lnTo>
                  <a:lnTo>
                    <a:pt x="0" y="824780"/>
                  </a:lnTo>
                  <a:lnTo>
                    <a:pt x="0" y="135259"/>
                  </a:lnTo>
                  <a:lnTo>
                    <a:pt x="268728" y="135259"/>
                  </a:lnTo>
                  <a:lnTo>
                    <a:pt x="261833" y="125032"/>
                  </a:lnTo>
                  <a:cubicBezTo>
                    <a:pt x="257279" y="114265"/>
                    <a:pt x="254760" y="102426"/>
                    <a:pt x="254760" y="90000"/>
                  </a:cubicBezTo>
                  <a:cubicBezTo>
                    <a:pt x="254760" y="40294"/>
                    <a:pt x="295054" y="0"/>
                    <a:pt x="34476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F559DCE6-D88B-4E1A-8445-5D34065E5EA6}"/>
                </a:ext>
              </a:extLst>
            </p:cNvPr>
            <p:cNvSpPr/>
            <p:nvPr/>
          </p:nvSpPr>
          <p:spPr>
            <a:xfrm>
              <a:off x="6309834" y="3578439"/>
              <a:ext cx="826759" cy="827620"/>
            </a:xfrm>
            <a:custGeom>
              <a:avLst/>
              <a:gdLst>
                <a:gd name="connsiteX0" fmla="*/ 137239 w 826759"/>
                <a:gd name="connsiteY0" fmla="*/ 0 h 827620"/>
                <a:gd name="connsiteX1" fmla="*/ 354557 w 826759"/>
                <a:gd name="connsiteY1" fmla="*/ 0 h 827620"/>
                <a:gd name="connsiteX2" fmla="*/ 354284 w 826759"/>
                <a:gd name="connsiteY2" fmla="*/ 1353 h 827620"/>
                <a:gd name="connsiteX3" fmla="*/ 481999 w 826759"/>
                <a:gd name="connsiteY3" fmla="*/ 129068 h 827620"/>
                <a:gd name="connsiteX4" fmla="*/ 609714 w 826759"/>
                <a:gd name="connsiteY4" fmla="*/ 1353 h 827620"/>
                <a:gd name="connsiteX5" fmla="*/ 609441 w 826759"/>
                <a:gd name="connsiteY5" fmla="*/ 0 h 827620"/>
                <a:gd name="connsiteX6" fmla="*/ 826759 w 826759"/>
                <a:gd name="connsiteY6" fmla="*/ 0 h 827620"/>
                <a:gd name="connsiteX7" fmla="*/ 826759 w 826759"/>
                <a:gd name="connsiteY7" fmla="*/ 689521 h 827620"/>
                <a:gd name="connsiteX8" fmla="*/ 556117 w 826759"/>
                <a:gd name="connsiteY8" fmla="*/ 689521 h 827620"/>
                <a:gd name="connsiteX9" fmla="*/ 564927 w 826759"/>
                <a:gd name="connsiteY9" fmla="*/ 702588 h 827620"/>
                <a:gd name="connsiteX10" fmla="*/ 571999 w 826759"/>
                <a:gd name="connsiteY10" fmla="*/ 737620 h 827620"/>
                <a:gd name="connsiteX11" fmla="*/ 481999 w 826759"/>
                <a:gd name="connsiteY11" fmla="*/ 827620 h 827620"/>
                <a:gd name="connsiteX12" fmla="*/ 391999 w 826759"/>
                <a:gd name="connsiteY12" fmla="*/ 737620 h 827620"/>
                <a:gd name="connsiteX13" fmla="*/ 399072 w 826759"/>
                <a:gd name="connsiteY13" fmla="*/ 702588 h 827620"/>
                <a:gd name="connsiteX14" fmla="*/ 407882 w 826759"/>
                <a:gd name="connsiteY14" fmla="*/ 689521 h 827620"/>
                <a:gd name="connsiteX15" fmla="*/ 137239 w 826759"/>
                <a:gd name="connsiteY15" fmla="*/ 689521 h 827620"/>
                <a:gd name="connsiteX16" fmla="*/ 137239 w 826759"/>
                <a:gd name="connsiteY16" fmla="*/ 419458 h 827620"/>
                <a:gd name="connsiteX17" fmla="*/ 125032 w 826759"/>
                <a:gd name="connsiteY17" fmla="*/ 427688 h 827620"/>
                <a:gd name="connsiteX18" fmla="*/ 90000 w 826759"/>
                <a:gd name="connsiteY18" fmla="*/ 434760 h 827620"/>
                <a:gd name="connsiteX19" fmla="*/ 0 w 826759"/>
                <a:gd name="connsiteY19" fmla="*/ 344760 h 827620"/>
                <a:gd name="connsiteX20" fmla="*/ 90000 w 826759"/>
                <a:gd name="connsiteY20" fmla="*/ 254760 h 827620"/>
                <a:gd name="connsiteX21" fmla="*/ 125032 w 826759"/>
                <a:gd name="connsiteY21" fmla="*/ 261833 h 827620"/>
                <a:gd name="connsiteX22" fmla="*/ 137239 w 826759"/>
                <a:gd name="connsiteY22" fmla="*/ 270063 h 82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6759" h="827620">
                  <a:moveTo>
                    <a:pt x="137239" y="0"/>
                  </a:moveTo>
                  <a:lnTo>
                    <a:pt x="354557" y="0"/>
                  </a:lnTo>
                  <a:lnTo>
                    <a:pt x="354284" y="1353"/>
                  </a:lnTo>
                  <a:cubicBezTo>
                    <a:pt x="354284" y="71888"/>
                    <a:pt x="411464" y="129068"/>
                    <a:pt x="481999" y="129068"/>
                  </a:cubicBezTo>
                  <a:cubicBezTo>
                    <a:pt x="552534" y="129068"/>
                    <a:pt x="609714" y="71888"/>
                    <a:pt x="609714" y="1353"/>
                  </a:cubicBezTo>
                  <a:lnTo>
                    <a:pt x="609441" y="0"/>
                  </a:lnTo>
                  <a:lnTo>
                    <a:pt x="826759" y="0"/>
                  </a:lnTo>
                  <a:lnTo>
                    <a:pt x="826759" y="689521"/>
                  </a:lnTo>
                  <a:lnTo>
                    <a:pt x="556117" y="689521"/>
                  </a:lnTo>
                  <a:lnTo>
                    <a:pt x="564927" y="702588"/>
                  </a:lnTo>
                  <a:cubicBezTo>
                    <a:pt x="569481" y="713355"/>
                    <a:pt x="571999" y="725194"/>
                    <a:pt x="571999" y="737620"/>
                  </a:cubicBezTo>
                  <a:cubicBezTo>
                    <a:pt x="571999" y="787326"/>
                    <a:pt x="531705" y="827620"/>
                    <a:pt x="481999" y="827620"/>
                  </a:cubicBezTo>
                  <a:cubicBezTo>
                    <a:pt x="432293" y="827620"/>
                    <a:pt x="391999" y="787326"/>
                    <a:pt x="391999" y="737620"/>
                  </a:cubicBezTo>
                  <a:cubicBezTo>
                    <a:pt x="391999" y="725194"/>
                    <a:pt x="394518" y="713355"/>
                    <a:pt x="399072" y="702588"/>
                  </a:cubicBezTo>
                  <a:lnTo>
                    <a:pt x="407882" y="689521"/>
                  </a:lnTo>
                  <a:lnTo>
                    <a:pt x="137239" y="689521"/>
                  </a:lnTo>
                  <a:lnTo>
                    <a:pt x="137239" y="419458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7239" y="27006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02F0DF5A-B868-4857-BFCE-C7CCE4B80A22}"/>
                </a:ext>
              </a:extLst>
            </p:cNvPr>
            <p:cNvSpPr/>
            <p:nvPr/>
          </p:nvSpPr>
          <p:spPr>
            <a:xfrm>
              <a:off x="5576114" y="4313679"/>
              <a:ext cx="825240" cy="689520"/>
            </a:xfrm>
            <a:custGeom>
              <a:avLst/>
              <a:gdLst>
                <a:gd name="connsiteX0" fmla="*/ 135719 w 825240"/>
                <a:gd name="connsiteY0" fmla="*/ 0 h 689520"/>
                <a:gd name="connsiteX1" fmla="*/ 353245 w 825240"/>
                <a:gd name="connsiteY1" fmla="*/ 0 h 689520"/>
                <a:gd name="connsiteX2" fmla="*/ 352764 w 825240"/>
                <a:gd name="connsiteY2" fmla="*/ 2381 h 689520"/>
                <a:gd name="connsiteX3" fmla="*/ 480479 w 825240"/>
                <a:gd name="connsiteY3" fmla="*/ 130096 h 689520"/>
                <a:gd name="connsiteX4" fmla="*/ 608194 w 825240"/>
                <a:gd name="connsiteY4" fmla="*/ 2381 h 689520"/>
                <a:gd name="connsiteX5" fmla="*/ 607714 w 825240"/>
                <a:gd name="connsiteY5" fmla="*/ 0 h 689520"/>
                <a:gd name="connsiteX6" fmla="*/ 825240 w 825240"/>
                <a:gd name="connsiteY6" fmla="*/ 0 h 689520"/>
                <a:gd name="connsiteX7" fmla="*/ 825240 w 825240"/>
                <a:gd name="connsiteY7" fmla="*/ 217183 h 689520"/>
                <a:gd name="connsiteX8" fmla="*/ 776209 w 825240"/>
                <a:gd name="connsiteY8" fmla="*/ 227082 h 689520"/>
                <a:gd name="connsiteX9" fmla="*/ 698206 w 825240"/>
                <a:gd name="connsiteY9" fmla="*/ 344760 h 689520"/>
                <a:gd name="connsiteX10" fmla="*/ 776209 w 825240"/>
                <a:gd name="connsiteY10" fmla="*/ 462439 h 689520"/>
                <a:gd name="connsiteX11" fmla="*/ 825240 w 825240"/>
                <a:gd name="connsiteY11" fmla="*/ 472338 h 689520"/>
                <a:gd name="connsiteX12" fmla="*/ 825240 w 825240"/>
                <a:gd name="connsiteY12" fmla="*/ 689520 h 689520"/>
                <a:gd name="connsiteX13" fmla="*/ 135719 w 825240"/>
                <a:gd name="connsiteY13" fmla="*/ 689520 h 689520"/>
                <a:gd name="connsiteX14" fmla="*/ 135719 w 825240"/>
                <a:gd name="connsiteY14" fmla="*/ 420482 h 689520"/>
                <a:gd name="connsiteX15" fmla="*/ 125032 w 825240"/>
                <a:gd name="connsiteY15" fmla="*/ 427688 h 689520"/>
                <a:gd name="connsiteX16" fmla="*/ 90000 w 825240"/>
                <a:gd name="connsiteY16" fmla="*/ 434760 h 689520"/>
                <a:gd name="connsiteX17" fmla="*/ 0 w 825240"/>
                <a:gd name="connsiteY17" fmla="*/ 344760 h 689520"/>
                <a:gd name="connsiteX18" fmla="*/ 90000 w 825240"/>
                <a:gd name="connsiteY18" fmla="*/ 254760 h 689520"/>
                <a:gd name="connsiteX19" fmla="*/ 125032 w 825240"/>
                <a:gd name="connsiteY19" fmla="*/ 261833 h 689520"/>
                <a:gd name="connsiteX20" fmla="*/ 135719 w 825240"/>
                <a:gd name="connsiteY20" fmla="*/ 269038 h 68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25240" h="689520">
                  <a:moveTo>
                    <a:pt x="135719" y="0"/>
                  </a:moveTo>
                  <a:lnTo>
                    <a:pt x="353245" y="0"/>
                  </a:lnTo>
                  <a:lnTo>
                    <a:pt x="352764" y="2381"/>
                  </a:lnTo>
                  <a:cubicBezTo>
                    <a:pt x="352764" y="72916"/>
                    <a:pt x="409944" y="130096"/>
                    <a:pt x="480479" y="130096"/>
                  </a:cubicBezTo>
                  <a:cubicBezTo>
                    <a:pt x="551014" y="130096"/>
                    <a:pt x="608194" y="72916"/>
                    <a:pt x="608194" y="2381"/>
                  </a:cubicBezTo>
                  <a:lnTo>
                    <a:pt x="607714" y="0"/>
                  </a:lnTo>
                  <a:lnTo>
                    <a:pt x="825240" y="0"/>
                  </a:lnTo>
                  <a:lnTo>
                    <a:pt x="825240" y="217183"/>
                  </a:lnTo>
                  <a:lnTo>
                    <a:pt x="776209" y="227082"/>
                  </a:lnTo>
                  <a:cubicBezTo>
                    <a:pt x="730370" y="246470"/>
                    <a:pt x="698206" y="291859"/>
                    <a:pt x="698206" y="344760"/>
                  </a:cubicBezTo>
                  <a:cubicBezTo>
                    <a:pt x="698206" y="397661"/>
                    <a:pt x="730370" y="443051"/>
                    <a:pt x="776209" y="462439"/>
                  </a:cubicBezTo>
                  <a:lnTo>
                    <a:pt x="825240" y="472338"/>
                  </a:lnTo>
                  <a:lnTo>
                    <a:pt x="825240" y="689520"/>
                  </a:lnTo>
                  <a:lnTo>
                    <a:pt x="135719" y="689520"/>
                  </a:lnTo>
                  <a:lnTo>
                    <a:pt x="135719" y="420482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5719" y="26903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C92AAF63-10C8-4D71-93BD-00C13AE30E19}"/>
              </a:ext>
            </a:extLst>
          </p:cNvPr>
          <p:cNvCxnSpPr/>
          <p:nvPr/>
        </p:nvCxnSpPr>
        <p:spPr>
          <a:xfrm flipH="1">
            <a:off x="4079776" y="3140968"/>
            <a:ext cx="65529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659AF435-C9F1-4374-8E62-B01D716F9BFA}"/>
              </a:ext>
            </a:extLst>
          </p:cNvPr>
          <p:cNvCxnSpPr/>
          <p:nvPr/>
        </p:nvCxnSpPr>
        <p:spPr>
          <a:xfrm flipH="1">
            <a:off x="4079776" y="4365104"/>
            <a:ext cx="65529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818DCDC-117F-496B-BC29-EC8DE4CE9D67}"/>
              </a:ext>
            </a:extLst>
          </p:cNvPr>
          <p:cNvSpPr txBox="1">
            <a:spLocks/>
          </p:cNvSpPr>
          <p:nvPr/>
        </p:nvSpPr>
        <p:spPr>
          <a:xfrm>
            <a:off x="407988" y="1881188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CB66052-B14E-4C63-8520-F38C057D6568}"/>
              </a:ext>
            </a:extLst>
          </p:cNvPr>
          <p:cNvSpPr txBox="1">
            <a:spLocks/>
          </p:cNvSpPr>
          <p:nvPr/>
        </p:nvSpPr>
        <p:spPr>
          <a:xfrm>
            <a:off x="407368" y="4185316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0BCF1B90-B554-490B-8980-9092CCD138F9}"/>
              </a:ext>
            </a:extLst>
          </p:cNvPr>
          <p:cNvSpPr txBox="1">
            <a:spLocks/>
          </p:cNvSpPr>
          <p:nvPr/>
        </p:nvSpPr>
        <p:spPr>
          <a:xfrm>
            <a:off x="8400876" y="1880828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79A510AF-6A8A-4AAA-B8C2-91EC52A2F9AF}"/>
              </a:ext>
            </a:extLst>
          </p:cNvPr>
          <p:cNvSpPr txBox="1">
            <a:spLocks/>
          </p:cNvSpPr>
          <p:nvPr/>
        </p:nvSpPr>
        <p:spPr>
          <a:xfrm>
            <a:off x="8400256" y="4184956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CAA93C43-49AD-4121-AB2F-F385CF2E2C3C}"/>
              </a:ext>
            </a:extLst>
          </p:cNvPr>
          <p:cNvCxnSpPr>
            <a:cxnSpLocks/>
          </p:cNvCxnSpPr>
          <p:nvPr/>
        </p:nvCxnSpPr>
        <p:spPr>
          <a:xfrm flipH="1">
            <a:off x="7471067" y="5008618"/>
            <a:ext cx="641158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B4D3F1C-0B92-400B-BA10-3CCB22509DF0}"/>
              </a:ext>
            </a:extLst>
          </p:cNvPr>
          <p:cNvCxnSpPr/>
          <p:nvPr/>
        </p:nvCxnSpPr>
        <p:spPr>
          <a:xfrm>
            <a:off x="4079776" y="1881188"/>
            <a:ext cx="0" cy="2065453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2397B6F3-0FBE-4798-AF17-DE30F597FBAD}"/>
              </a:ext>
            </a:extLst>
          </p:cNvPr>
          <p:cNvCxnSpPr>
            <a:cxnSpLocks/>
          </p:cNvCxnSpPr>
          <p:nvPr/>
        </p:nvCxnSpPr>
        <p:spPr>
          <a:xfrm>
            <a:off x="4079776" y="4257316"/>
            <a:ext cx="0" cy="201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4DB693C0-CB7C-4B71-91FB-A27908499E72}"/>
              </a:ext>
            </a:extLst>
          </p:cNvPr>
          <p:cNvCxnSpPr/>
          <p:nvPr/>
        </p:nvCxnSpPr>
        <p:spPr>
          <a:xfrm>
            <a:off x="8112224" y="1881188"/>
            <a:ext cx="0" cy="2051644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E1543F0-A782-41C7-AAEA-B12E6EEC454E}"/>
              </a:ext>
            </a:extLst>
          </p:cNvPr>
          <p:cNvCxnSpPr>
            <a:cxnSpLocks/>
          </p:cNvCxnSpPr>
          <p:nvPr/>
        </p:nvCxnSpPr>
        <p:spPr>
          <a:xfrm>
            <a:off x="8112224" y="4257316"/>
            <a:ext cx="0" cy="201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Rechteck 4">
            <a:extLst>
              <a:ext uri="{FF2B5EF4-FFF2-40B4-BE49-F238E27FC236}">
                <a16:creationId xmlns:a16="http://schemas.microsoft.com/office/drawing/2014/main" id="{45DFF1DA-321F-4690-8ECA-088B6188A39F}"/>
              </a:ext>
            </a:extLst>
          </p:cNvPr>
          <p:cNvSpPr/>
          <p:nvPr/>
        </p:nvSpPr>
        <p:spPr>
          <a:xfrm>
            <a:off x="4727848" y="2708920"/>
            <a:ext cx="864096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5814ED4-F694-44A3-8F92-C87502F2297B}"/>
              </a:ext>
            </a:extLst>
          </p:cNvPr>
          <p:cNvSpPr/>
          <p:nvPr/>
        </p:nvSpPr>
        <p:spPr>
          <a:xfrm>
            <a:off x="4727848" y="3645024"/>
            <a:ext cx="864096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061484D6-3BAF-4395-9AA6-99E1B44E7722}"/>
              </a:ext>
            </a:extLst>
          </p:cNvPr>
          <p:cNvSpPr/>
          <p:nvPr/>
        </p:nvSpPr>
        <p:spPr>
          <a:xfrm>
            <a:off x="6600056" y="3645024"/>
            <a:ext cx="864096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9D06306-6900-4107-ACAE-44A4E48F7106}"/>
              </a:ext>
            </a:extLst>
          </p:cNvPr>
          <p:cNvSpPr/>
          <p:nvPr/>
        </p:nvSpPr>
        <p:spPr>
          <a:xfrm>
            <a:off x="6600056" y="4581128"/>
            <a:ext cx="864096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bg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68863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445BCC-A66A-4A2A-8240-968DAA225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sequenzen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5BBC959-3BE3-458A-9B11-6F3BBE119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9701C5-FEAB-4CAD-895E-B93A172E5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1</a:t>
            </a:fld>
            <a:endParaRPr lang="de-DE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537EE6F-0054-4A6F-9A79-FD7BDA744C6E}"/>
              </a:ext>
            </a:extLst>
          </p:cNvPr>
          <p:cNvSpPr txBox="1">
            <a:spLocks/>
          </p:cNvSpPr>
          <p:nvPr/>
        </p:nvSpPr>
        <p:spPr>
          <a:xfrm>
            <a:off x="4367213" y="1916968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87186F39-25F8-4379-9495-CDD791260C79}"/>
              </a:ext>
            </a:extLst>
          </p:cNvPr>
          <p:cNvSpPr txBox="1">
            <a:spLocks/>
          </p:cNvSpPr>
          <p:nvPr/>
        </p:nvSpPr>
        <p:spPr>
          <a:xfrm>
            <a:off x="4367213" y="3447179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A1580E6A-CBEC-497A-801E-B01BC6D30BD4}"/>
              </a:ext>
            </a:extLst>
          </p:cNvPr>
          <p:cNvSpPr txBox="1">
            <a:spLocks/>
          </p:cNvSpPr>
          <p:nvPr/>
        </p:nvSpPr>
        <p:spPr>
          <a:xfrm>
            <a:off x="4367213" y="5013312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54B5D2AC-CCC6-4C00-AAEC-9258D5624990}"/>
              </a:ext>
            </a:extLst>
          </p:cNvPr>
          <p:cNvSpPr>
            <a:spLocks/>
          </p:cNvSpPr>
          <p:nvPr/>
        </p:nvSpPr>
        <p:spPr bwMode="auto">
          <a:xfrm>
            <a:off x="3760626" y="2332366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5" name="Freeform 5">
            <a:extLst>
              <a:ext uri="{FF2B5EF4-FFF2-40B4-BE49-F238E27FC236}">
                <a16:creationId xmlns:a16="http://schemas.microsoft.com/office/drawing/2014/main" id="{6B13E74B-4647-47EB-BD0A-784F0FD985B1}"/>
              </a:ext>
            </a:extLst>
          </p:cNvPr>
          <p:cNvSpPr>
            <a:spLocks/>
          </p:cNvSpPr>
          <p:nvPr/>
        </p:nvSpPr>
        <p:spPr bwMode="auto">
          <a:xfrm>
            <a:off x="3760626" y="3862577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2563BD8E-8C18-4AFB-AB45-BA81EA6D5FF3}"/>
              </a:ext>
            </a:extLst>
          </p:cNvPr>
          <p:cNvSpPr>
            <a:spLocks/>
          </p:cNvSpPr>
          <p:nvPr/>
        </p:nvSpPr>
        <p:spPr bwMode="auto">
          <a:xfrm>
            <a:off x="3760626" y="542871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6524E13E-18F4-4DA3-8B73-51D3145CA7D1}"/>
              </a:ext>
            </a:extLst>
          </p:cNvPr>
          <p:cNvSpPr txBox="1">
            <a:spLocks/>
          </p:cNvSpPr>
          <p:nvPr/>
        </p:nvSpPr>
        <p:spPr>
          <a:xfrm>
            <a:off x="479376" y="3463842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2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838AE67C-AB05-4FA7-A33A-C4E4DD5496F5}"/>
              </a:ext>
            </a:extLst>
          </p:cNvPr>
          <p:cNvSpPr txBox="1">
            <a:spLocks/>
          </p:cNvSpPr>
          <p:nvPr/>
        </p:nvSpPr>
        <p:spPr>
          <a:xfrm>
            <a:off x="479376" y="1916968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1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A6E77202-093A-472B-B6CB-F3C14D5FD30F}"/>
              </a:ext>
            </a:extLst>
          </p:cNvPr>
          <p:cNvSpPr txBox="1">
            <a:spLocks/>
          </p:cNvSpPr>
          <p:nvPr/>
        </p:nvSpPr>
        <p:spPr>
          <a:xfrm>
            <a:off x="479376" y="5013312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3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5EC20C9D-4114-4D1F-AA2C-DF75D1FD9E23}"/>
              </a:ext>
            </a:extLst>
          </p:cNvPr>
          <p:cNvCxnSpPr>
            <a:cxnSpLocks/>
          </p:cNvCxnSpPr>
          <p:nvPr/>
        </p:nvCxnSpPr>
        <p:spPr>
          <a:xfrm>
            <a:off x="443372" y="346384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04A01174-150D-4518-9946-A7F7CA73B2A6}"/>
              </a:ext>
            </a:extLst>
          </p:cNvPr>
          <p:cNvCxnSpPr>
            <a:cxnSpLocks/>
          </p:cNvCxnSpPr>
          <p:nvPr/>
        </p:nvCxnSpPr>
        <p:spPr>
          <a:xfrm>
            <a:off x="443372" y="1916968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C1DD7DE2-1E3D-47B0-92F3-2D8FDD35B191}"/>
              </a:ext>
            </a:extLst>
          </p:cNvPr>
          <p:cNvCxnSpPr>
            <a:cxnSpLocks/>
          </p:cNvCxnSpPr>
          <p:nvPr/>
        </p:nvCxnSpPr>
        <p:spPr>
          <a:xfrm>
            <a:off x="443372" y="501331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43E6AA1F-4E57-40D9-B759-5E5DE2814003}"/>
              </a:ext>
            </a:extLst>
          </p:cNvPr>
          <p:cNvCxnSpPr>
            <a:cxnSpLocks/>
          </p:cNvCxnSpPr>
          <p:nvPr/>
        </p:nvCxnSpPr>
        <p:spPr>
          <a:xfrm flipH="1">
            <a:off x="4368752" y="3285056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5117A99C-D440-4950-B749-56810F076706}"/>
              </a:ext>
            </a:extLst>
          </p:cNvPr>
          <p:cNvCxnSpPr>
            <a:cxnSpLocks/>
          </p:cNvCxnSpPr>
          <p:nvPr/>
        </p:nvCxnSpPr>
        <p:spPr>
          <a:xfrm flipH="1">
            <a:off x="4367808" y="4833302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65775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445BCC-A66A-4A2A-8240-968DAA225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sequenzen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5BBC959-3BE3-458A-9B11-6F3BBE119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9701C5-FEAB-4CAD-895E-B93A172E5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2</a:t>
            </a:fld>
            <a:endParaRPr lang="de-DE" dirty="0"/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D84641A0-4A8F-4538-B365-D6164E8D6F58}"/>
              </a:ext>
            </a:extLst>
          </p:cNvPr>
          <p:cNvSpPr txBox="1">
            <a:spLocks/>
          </p:cNvSpPr>
          <p:nvPr/>
        </p:nvSpPr>
        <p:spPr>
          <a:xfrm>
            <a:off x="1345790" y="3463842"/>
            <a:ext cx="2088000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2</a:t>
            </a: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D018F765-C809-45F9-A60C-2AA1AF3FB2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5214" y="2161814"/>
            <a:ext cx="698238" cy="698238"/>
          </a:xfrm>
          <a:prstGeom prst="rect">
            <a:avLst/>
          </a:prstGeom>
        </p:spPr>
      </p:pic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15B9170-D094-429C-B71D-62C459E57FFC}"/>
              </a:ext>
            </a:extLst>
          </p:cNvPr>
          <p:cNvCxnSpPr>
            <a:cxnSpLocks/>
          </p:cNvCxnSpPr>
          <p:nvPr/>
        </p:nvCxnSpPr>
        <p:spPr>
          <a:xfrm>
            <a:off x="1345790" y="346384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2AF48311-5761-496A-8698-3F13CAAA2CB2}"/>
              </a:ext>
            </a:extLst>
          </p:cNvPr>
          <p:cNvSpPr txBox="1">
            <a:spLocks/>
          </p:cNvSpPr>
          <p:nvPr/>
        </p:nvSpPr>
        <p:spPr>
          <a:xfrm>
            <a:off x="1345790" y="1916968"/>
            <a:ext cx="2088000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1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19D1078-17DA-46CA-AB2A-5F8C1FA5DDD2}"/>
              </a:ext>
            </a:extLst>
          </p:cNvPr>
          <p:cNvCxnSpPr>
            <a:cxnSpLocks/>
          </p:cNvCxnSpPr>
          <p:nvPr/>
        </p:nvCxnSpPr>
        <p:spPr>
          <a:xfrm>
            <a:off x="1345790" y="1916968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4BF443D1-0F36-432C-B49F-049D5A909BD7}"/>
              </a:ext>
            </a:extLst>
          </p:cNvPr>
          <p:cNvSpPr txBox="1">
            <a:spLocks/>
          </p:cNvSpPr>
          <p:nvPr/>
        </p:nvSpPr>
        <p:spPr>
          <a:xfrm>
            <a:off x="1345790" y="5013312"/>
            <a:ext cx="2088000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3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750EC46-3A7A-40AB-9750-A87C8CCA922E}"/>
              </a:ext>
            </a:extLst>
          </p:cNvPr>
          <p:cNvCxnSpPr>
            <a:cxnSpLocks/>
          </p:cNvCxnSpPr>
          <p:nvPr/>
        </p:nvCxnSpPr>
        <p:spPr>
          <a:xfrm>
            <a:off x="1345790" y="501331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D57B92D7-5D18-4A91-9FC2-272185A34AA5}"/>
              </a:ext>
            </a:extLst>
          </p:cNvPr>
          <p:cNvCxnSpPr>
            <a:cxnSpLocks/>
          </p:cNvCxnSpPr>
          <p:nvPr/>
        </p:nvCxnSpPr>
        <p:spPr>
          <a:xfrm flipH="1">
            <a:off x="4368752" y="3285056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1845BCD5-498D-4F4D-A33A-BAC721BFA009}"/>
              </a:ext>
            </a:extLst>
          </p:cNvPr>
          <p:cNvCxnSpPr>
            <a:cxnSpLocks/>
          </p:cNvCxnSpPr>
          <p:nvPr/>
        </p:nvCxnSpPr>
        <p:spPr>
          <a:xfrm flipH="1">
            <a:off x="4367808" y="4833302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56DBAFDC-9CB3-40B3-B0D3-16F03AECE94D}"/>
              </a:ext>
            </a:extLst>
          </p:cNvPr>
          <p:cNvSpPr txBox="1">
            <a:spLocks/>
          </p:cNvSpPr>
          <p:nvPr/>
        </p:nvSpPr>
        <p:spPr>
          <a:xfrm>
            <a:off x="4367213" y="1916968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1F7F035-798E-4E64-B734-98A474AC4358}"/>
              </a:ext>
            </a:extLst>
          </p:cNvPr>
          <p:cNvSpPr txBox="1">
            <a:spLocks/>
          </p:cNvSpPr>
          <p:nvPr/>
        </p:nvSpPr>
        <p:spPr>
          <a:xfrm>
            <a:off x="4367213" y="3447179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068773F6-1EE6-4844-8567-825F60152788}"/>
              </a:ext>
            </a:extLst>
          </p:cNvPr>
          <p:cNvSpPr txBox="1">
            <a:spLocks/>
          </p:cNvSpPr>
          <p:nvPr/>
        </p:nvSpPr>
        <p:spPr>
          <a:xfrm>
            <a:off x="4367213" y="5013312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7" name="Freeform 5">
            <a:extLst>
              <a:ext uri="{FF2B5EF4-FFF2-40B4-BE49-F238E27FC236}">
                <a16:creationId xmlns:a16="http://schemas.microsoft.com/office/drawing/2014/main" id="{E116BBE6-9E57-4D17-A806-9FECD5E41A0F}"/>
              </a:ext>
            </a:extLst>
          </p:cNvPr>
          <p:cNvSpPr>
            <a:spLocks/>
          </p:cNvSpPr>
          <p:nvPr/>
        </p:nvSpPr>
        <p:spPr bwMode="auto">
          <a:xfrm>
            <a:off x="3760626" y="2332366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3" name="Freeform 5">
            <a:extLst>
              <a:ext uri="{FF2B5EF4-FFF2-40B4-BE49-F238E27FC236}">
                <a16:creationId xmlns:a16="http://schemas.microsoft.com/office/drawing/2014/main" id="{0697E347-5DEC-4042-BC34-41381C9FDF06}"/>
              </a:ext>
            </a:extLst>
          </p:cNvPr>
          <p:cNvSpPr>
            <a:spLocks/>
          </p:cNvSpPr>
          <p:nvPr/>
        </p:nvSpPr>
        <p:spPr bwMode="auto">
          <a:xfrm>
            <a:off x="3760626" y="3862577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5078BBEB-1583-40F4-8771-C63248848548}"/>
              </a:ext>
            </a:extLst>
          </p:cNvPr>
          <p:cNvSpPr>
            <a:spLocks/>
          </p:cNvSpPr>
          <p:nvPr/>
        </p:nvSpPr>
        <p:spPr bwMode="auto">
          <a:xfrm>
            <a:off x="3760626" y="542871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F194C91-08FE-4BC0-7E50-2019132206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4400" y="3726000"/>
            <a:ext cx="698400" cy="6984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2475DFEB-DD1A-329E-A578-225FFB8F86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4400" y="52956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10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D84641A0-4A8F-4538-B365-D6164E8D6F58}"/>
              </a:ext>
            </a:extLst>
          </p:cNvPr>
          <p:cNvSpPr txBox="1">
            <a:spLocks/>
          </p:cNvSpPr>
          <p:nvPr/>
        </p:nvSpPr>
        <p:spPr>
          <a:xfrm>
            <a:off x="479376" y="3463842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2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2AF48311-5761-496A-8698-3F13CAAA2CB2}"/>
              </a:ext>
            </a:extLst>
          </p:cNvPr>
          <p:cNvSpPr txBox="1">
            <a:spLocks/>
          </p:cNvSpPr>
          <p:nvPr/>
        </p:nvSpPr>
        <p:spPr>
          <a:xfrm>
            <a:off x="479376" y="1916968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1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4BF443D1-0F36-432C-B49F-049D5A909BD7}"/>
              </a:ext>
            </a:extLst>
          </p:cNvPr>
          <p:cNvSpPr txBox="1">
            <a:spLocks/>
          </p:cNvSpPr>
          <p:nvPr/>
        </p:nvSpPr>
        <p:spPr>
          <a:xfrm>
            <a:off x="479376" y="5013312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3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7445BCC-A66A-4A2A-8240-968DAA225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sequenzen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5BBC959-3BE3-458A-9B11-6F3BBE119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9701C5-FEAB-4CAD-895E-B93A172E5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3</a:t>
            </a:fld>
            <a:endParaRPr lang="de-DE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D018F765-C809-45F9-A60C-2AA1AF3FB2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25454" y="2161814"/>
            <a:ext cx="698238" cy="698238"/>
          </a:xfrm>
          <a:prstGeom prst="rect">
            <a:avLst/>
          </a:prstGeom>
        </p:spPr>
      </p:pic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15B9170-D094-429C-B71D-62C459E57FFC}"/>
              </a:ext>
            </a:extLst>
          </p:cNvPr>
          <p:cNvCxnSpPr>
            <a:cxnSpLocks/>
          </p:cNvCxnSpPr>
          <p:nvPr/>
        </p:nvCxnSpPr>
        <p:spPr>
          <a:xfrm>
            <a:off x="443372" y="346384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19D1078-17DA-46CA-AB2A-5F8C1FA5DDD2}"/>
              </a:ext>
            </a:extLst>
          </p:cNvPr>
          <p:cNvCxnSpPr>
            <a:cxnSpLocks/>
          </p:cNvCxnSpPr>
          <p:nvPr/>
        </p:nvCxnSpPr>
        <p:spPr>
          <a:xfrm>
            <a:off x="443372" y="1916968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750EC46-3A7A-40AB-9750-A87C8CCA922E}"/>
              </a:ext>
            </a:extLst>
          </p:cNvPr>
          <p:cNvCxnSpPr>
            <a:cxnSpLocks/>
          </p:cNvCxnSpPr>
          <p:nvPr/>
        </p:nvCxnSpPr>
        <p:spPr>
          <a:xfrm>
            <a:off x="443372" y="501331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D57B92D7-5D18-4A91-9FC2-272185A34AA5}"/>
              </a:ext>
            </a:extLst>
          </p:cNvPr>
          <p:cNvCxnSpPr>
            <a:cxnSpLocks/>
          </p:cNvCxnSpPr>
          <p:nvPr/>
        </p:nvCxnSpPr>
        <p:spPr>
          <a:xfrm flipH="1">
            <a:off x="4368752" y="3285056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1845BCD5-498D-4F4D-A33A-BAC721BFA009}"/>
              </a:ext>
            </a:extLst>
          </p:cNvPr>
          <p:cNvCxnSpPr>
            <a:cxnSpLocks/>
          </p:cNvCxnSpPr>
          <p:nvPr/>
        </p:nvCxnSpPr>
        <p:spPr>
          <a:xfrm flipH="1">
            <a:off x="4367808" y="4833302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56DBAFDC-9CB3-40B3-B0D3-16F03AECE94D}"/>
              </a:ext>
            </a:extLst>
          </p:cNvPr>
          <p:cNvSpPr txBox="1">
            <a:spLocks/>
          </p:cNvSpPr>
          <p:nvPr/>
        </p:nvSpPr>
        <p:spPr>
          <a:xfrm>
            <a:off x="4367213" y="1916968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1F7F035-798E-4E64-B734-98A474AC4358}"/>
              </a:ext>
            </a:extLst>
          </p:cNvPr>
          <p:cNvSpPr txBox="1">
            <a:spLocks/>
          </p:cNvSpPr>
          <p:nvPr/>
        </p:nvSpPr>
        <p:spPr>
          <a:xfrm>
            <a:off x="4367213" y="3447179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068773F6-1EE6-4844-8567-825F60152788}"/>
              </a:ext>
            </a:extLst>
          </p:cNvPr>
          <p:cNvSpPr txBox="1">
            <a:spLocks/>
          </p:cNvSpPr>
          <p:nvPr/>
        </p:nvSpPr>
        <p:spPr>
          <a:xfrm>
            <a:off x="4367213" y="5013312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7" name="Freeform 5">
            <a:extLst>
              <a:ext uri="{FF2B5EF4-FFF2-40B4-BE49-F238E27FC236}">
                <a16:creationId xmlns:a16="http://schemas.microsoft.com/office/drawing/2014/main" id="{E116BBE6-9E57-4D17-A806-9FECD5E41A0F}"/>
              </a:ext>
            </a:extLst>
          </p:cNvPr>
          <p:cNvSpPr>
            <a:spLocks/>
          </p:cNvSpPr>
          <p:nvPr/>
        </p:nvSpPr>
        <p:spPr bwMode="auto">
          <a:xfrm>
            <a:off x="3760626" y="2332366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3" name="Freeform 5">
            <a:extLst>
              <a:ext uri="{FF2B5EF4-FFF2-40B4-BE49-F238E27FC236}">
                <a16:creationId xmlns:a16="http://schemas.microsoft.com/office/drawing/2014/main" id="{0697E347-5DEC-4042-BC34-41381C9FDF06}"/>
              </a:ext>
            </a:extLst>
          </p:cNvPr>
          <p:cNvSpPr>
            <a:spLocks/>
          </p:cNvSpPr>
          <p:nvPr/>
        </p:nvSpPr>
        <p:spPr bwMode="auto">
          <a:xfrm>
            <a:off x="3760626" y="3862577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5078BBEB-1583-40F4-8771-C63248848548}"/>
              </a:ext>
            </a:extLst>
          </p:cNvPr>
          <p:cNvSpPr>
            <a:spLocks/>
          </p:cNvSpPr>
          <p:nvPr/>
        </p:nvSpPr>
        <p:spPr bwMode="auto">
          <a:xfrm>
            <a:off x="3760626" y="542871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3ECE856-55BB-79AA-0964-D43C984A4F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24400" y="3726000"/>
            <a:ext cx="698400" cy="698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73D64BB-B33D-C77F-A457-E474B3909E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24400" y="52956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974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4</a:t>
            </a:fld>
            <a:endParaRPr lang="de-DE" dirty="0"/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54AD326-C129-488E-92E0-5E75FD6A7606}"/>
              </a:ext>
            </a:extLst>
          </p:cNvPr>
          <p:cNvCxnSpPr>
            <a:cxnSpLocks/>
          </p:cNvCxnSpPr>
          <p:nvPr/>
        </p:nvCxnSpPr>
        <p:spPr>
          <a:xfrm>
            <a:off x="7212648" y="3600220"/>
            <a:ext cx="457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4D794290-C5FE-4C78-A757-3EEF6040244B}"/>
              </a:ext>
            </a:extLst>
          </p:cNvPr>
          <p:cNvCxnSpPr>
            <a:cxnSpLocks/>
          </p:cNvCxnSpPr>
          <p:nvPr/>
        </p:nvCxnSpPr>
        <p:spPr>
          <a:xfrm>
            <a:off x="8292244" y="5382284"/>
            <a:ext cx="349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6D8F9705-8D3D-4FE6-A48A-540351D93DF8}"/>
              </a:ext>
            </a:extLst>
          </p:cNvPr>
          <p:cNvCxnSpPr>
            <a:cxnSpLocks/>
          </p:cNvCxnSpPr>
          <p:nvPr/>
        </p:nvCxnSpPr>
        <p:spPr>
          <a:xfrm flipH="1">
            <a:off x="413972" y="2709188"/>
            <a:ext cx="511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B8CCB36F-8071-4A7A-87A9-25427C5E2FE3}"/>
              </a:ext>
            </a:extLst>
          </p:cNvPr>
          <p:cNvCxnSpPr>
            <a:cxnSpLocks/>
          </p:cNvCxnSpPr>
          <p:nvPr/>
        </p:nvCxnSpPr>
        <p:spPr>
          <a:xfrm flipH="1">
            <a:off x="409587" y="4491252"/>
            <a:ext cx="403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D0A83CB1-D960-4277-BD86-E2AF0BD69819}"/>
              </a:ext>
            </a:extLst>
          </p:cNvPr>
          <p:cNvSpPr txBox="1">
            <a:spLocks/>
          </p:cNvSpPr>
          <p:nvPr/>
        </p:nvSpPr>
        <p:spPr>
          <a:xfrm>
            <a:off x="803413" y="1881188"/>
            <a:ext cx="4636668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1">
              <a:spcAft>
                <a:spcPts val="0"/>
              </a:spcAft>
            </a:pPr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.</a:t>
            </a:r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CB3C71EA-2C34-4C66-9299-DFAEFDD3131F}"/>
              </a:ext>
            </a:extLst>
          </p:cNvPr>
          <p:cNvSpPr txBox="1">
            <a:spLocks/>
          </p:cNvSpPr>
          <p:nvPr/>
        </p:nvSpPr>
        <p:spPr>
          <a:xfrm>
            <a:off x="7248128" y="2772220"/>
            <a:ext cx="4140460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</a:t>
            </a:r>
            <a:r>
              <a:rPr lang="de-DE" dirty="0"/>
              <a:t>.</a:t>
            </a:r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D6585B77-205A-41CF-83AB-1BD85575273B}"/>
              </a:ext>
            </a:extLst>
          </p:cNvPr>
          <p:cNvSpPr txBox="1">
            <a:spLocks/>
          </p:cNvSpPr>
          <p:nvPr/>
        </p:nvSpPr>
        <p:spPr>
          <a:xfrm>
            <a:off x="803413" y="3663252"/>
            <a:ext cx="3564396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</a:t>
            </a:r>
            <a:r>
              <a:rPr lang="de-DE" dirty="0"/>
              <a:t>.</a:t>
            </a:r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9CD5F0E9-BD14-4A41-AE65-A210E9A02738}"/>
              </a:ext>
            </a:extLst>
          </p:cNvPr>
          <p:cNvSpPr txBox="1">
            <a:spLocks/>
          </p:cNvSpPr>
          <p:nvPr/>
        </p:nvSpPr>
        <p:spPr>
          <a:xfrm>
            <a:off x="803412" y="5445316"/>
            <a:ext cx="2591493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.</a:t>
            </a:r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E97D7302-F5C3-4295-820E-CAB78C29E649}"/>
              </a:ext>
            </a:extLst>
          </p:cNvPr>
          <p:cNvSpPr txBox="1">
            <a:spLocks/>
          </p:cNvSpPr>
          <p:nvPr/>
        </p:nvSpPr>
        <p:spPr>
          <a:xfrm>
            <a:off x="8291846" y="4554284"/>
            <a:ext cx="3096742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8A7F985-0BF5-4423-82A4-6BE08FA34526}"/>
              </a:ext>
            </a:extLst>
          </p:cNvPr>
          <p:cNvSpPr/>
          <p:nvPr/>
        </p:nvSpPr>
        <p:spPr>
          <a:xfrm>
            <a:off x="407988" y="1881188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CA03E9B-CC4A-413E-ABEE-BA3AABEA0D93}"/>
              </a:ext>
            </a:extLst>
          </p:cNvPr>
          <p:cNvSpPr/>
          <p:nvPr/>
        </p:nvSpPr>
        <p:spPr>
          <a:xfrm>
            <a:off x="407988" y="3663252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E013B68C-7A66-41A0-BBDA-32393541F79C}"/>
              </a:ext>
            </a:extLst>
          </p:cNvPr>
          <p:cNvSpPr/>
          <p:nvPr/>
        </p:nvSpPr>
        <p:spPr>
          <a:xfrm>
            <a:off x="407988" y="5445316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8FDCAEDE-1D0B-4FB0-BAFB-33F519D79839}"/>
              </a:ext>
            </a:extLst>
          </p:cNvPr>
          <p:cNvSpPr/>
          <p:nvPr/>
        </p:nvSpPr>
        <p:spPr>
          <a:xfrm>
            <a:off x="11427991" y="2772220"/>
            <a:ext cx="35942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C71017A-7B76-44C2-8CEF-1ADBAB2A050D}"/>
              </a:ext>
            </a:extLst>
          </p:cNvPr>
          <p:cNvSpPr/>
          <p:nvPr/>
        </p:nvSpPr>
        <p:spPr>
          <a:xfrm>
            <a:off x="11427991" y="4554284"/>
            <a:ext cx="35942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90F2D594-7504-4767-8102-3B218D73DD40}"/>
              </a:ext>
            </a:extLst>
          </p:cNvPr>
          <p:cNvCxnSpPr>
            <a:cxnSpLocks/>
          </p:cNvCxnSpPr>
          <p:nvPr/>
        </p:nvCxnSpPr>
        <p:spPr>
          <a:xfrm flipH="1">
            <a:off x="407990" y="6273316"/>
            <a:ext cx="29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6E2311F1-7449-4D7C-9119-89465AB8C9F9}"/>
              </a:ext>
            </a:extLst>
          </p:cNvPr>
          <p:cNvSpPr/>
          <p:nvPr/>
        </p:nvSpPr>
        <p:spPr>
          <a:xfrm>
            <a:off x="5587251" y="1881188"/>
            <a:ext cx="1018018" cy="828000"/>
          </a:xfrm>
          <a:custGeom>
            <a:avLst/>
            <a:gdLst>
              <a:gd name="connsiteX0" fmla="*/ 509009 w 1018018"/>
              <a:gd name="connsiteY0" fmla="*/ 0 h 828000"/>
              <a:gd name="connsiteX1" fmla="*/ 1018018 w 1018018"/>
              <a:gd name="connsiteY1" fmla="*/ 828000 h 828000"/>
              <a:gd name="connsiteX2" fmla="*/ 0 w 1018018"/>
              <a:gd name="connsiteY2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8018" h="828000">
                <a:moveTo>
                  <a:pt x="509009" y="0"/>
                </a:moveTo>
                <a:lnTo>
                  <a:pt x="1018018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686C552B-D9BC-43D1-8474-D341FF162BEF}"/>
              </a:ext>
            </a:extLst>
          </p:cNvPr>
          <p:cNvSpPr/>
          <p:nvPr/>
        </p:nvSpPr>
        <p:spPr>
          <a:xfrm>
            <a:off x="5039493" y="2772220"/>
            <a:ext cx="2113534" cy="828000"/>
          </a:xfrm>
          <a:custGeom>
            <a:avLst/>
            <a:gdLst>
              <a:gd name="connsiteX0" fmla="*/ 509009 w 2113534"/>
              <a:gd name="connsiteY0" fmla="*/ 0 h 828000"/>
              <a:gd name="connsiteX1" fmla="*/ 1604525 w 2113534"/>
              <a:gd name="connsiteY1" fmla="*/ 0 h 828000"/>
              <a:gd name="connsiteX2" fmla="*/ 2113534 w 2113534"/>
              <a:gd name="connsiteY2" fmla="*/ 828000 h 828000"/>
              <a:gd name="connsiteX3" fmla="*/ 0 w 2113534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13534" h="828000">
                <a:moveTo>
                  <a:pt x="509009" y="0"/>
                </a:moveTo>
                <a:lnTo>
                  <a:pt x="1604525" y="0"/>
                </a:lnTo>
                <a:lnTo>
                  <a:pt x="2113534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A7D9CFB2-63DF-4CE3-815C-B61E40D47C45}"/>
              </a:ext>
            </a:extLst>
          </p:cNvPr>
          <p:cNvSpPr/>
          <p:nvPr/>
        </p:nvSpPr>
        <p:spPr>
          <a:xfrm>
            <a:off x="4491735" y="3663252"/>
            <a:ext cx="3209050" cy="828000"/>
          </a:xfrm>
          <a:custGeom>
            <a:avLst/>
            <a:gdLst>
              <a:gd name="connsiteX0" fmla="*/ 509009 w 3209050"/>
              <a:gd name="connsiteY0" fmla="*/ 0 h 828000"/>
              <a:gd name="connsiteX1" fmla="*/ 2700041 w 3209050"/>
              <a:gd name="connsiteY1" fmla="*/ 0 h 828000"/>
              <a:gd name="connsiteX2" fmla="*/ 3209050 w 3209050"/>
              <a:gd name="connsiteY2" fmla="*/ 828000 h 828000"/>
              <a:gd name="connsiteX3" fmla="*/ 0 w 3209050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050" h="828000">
                <a:moveTo>
                  <a:pt x="509009" y="0"/>
                </a:moveTo>
                <a:lnTo>
                  <a:pt x="2700041" y="0"/>
                </a:lnTo>
                <a:lnTo>
                  <a:pt x="3209050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E18A459C-094A-4831-95E1-C9FD52153E89}"/>
              </a:ext>
            </a:extLst>
          </p:cNvPr>
          <p:cNvSpPr/>
          <p:nvPr/>
        </p:nvSpPr>
        <p:spPr>
          <a:xfrm>
            <a:off x="3943977" y="4554284"/>
            <a:ext cx="4304566" cy="828000"/>
          </a:xfrm>
          <a:custGeom>
            <a:avLst/>
            <a:gdLst>
              <a:gd name="connsiteX0" fmla="*/ 509009 w 4304566"/>
              <a:gd name="connsiteY0" fmla="*/ 0 h 828000"/>
              <a:gd name="connsiteX1" fmla="*/ 3795556 w 4304566"/>
              <a:gd name="connsiteY1" fmla="*/ 0 h 828000"/>
              <a:gd name="connsiteX2" fmla="*/ 4304566 w 4304566"/>
              <a:gd name="connsiteY2" fmla="*/ 828000 h 828000"/>
              <a:gd name="connsiteX3" fmla="*/ 0 w 4304566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4566" h="828000">
                <a:moveTo>
                  <a:pt x="509009" y="0"/>
                </a:moveTo>
                <a:lnTo>
                  <a:pt x="3795556" y="0"/>
                </a:lnTo>
                <a:lnTo>
                  <a:pt x="4304566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C1493E40-E21B-448A-8343-B8C87B685252}"/>
              </a:ext>
            </a:extLst>
          </p:cNvPr>
          <p:cNvSpPr/>
          <p:nvPr/>
        </p:nvSpPr>
        <p:spPr>
          <a:xfrm>
            <a:off x="3396219" y="5445316"/>
            <a:ext cx="5400081" cy="828000"/>
          </a:xfrm>
          <a:custGeom>
            <a:avLst/>
            <a:gdLst>
              <a:gd name="connsiteX0" fmla="*/ 509009 w 5400081"/>
              <a:gd name="connsiteY0" fmla="*/ 0 h 828000"/>
              <a:gd name="connsiteX1" fmla="*/ 4891072 w 5400081"/>
              <a:gd name="connsiteY1" fmla="*/ 0 h 828000"/>
              <a:gd name="connsiteX2" fmla="*/ 5400081 w 5400081"/>
              <a:gd name="connsiteY2" fmla="*/ 828000 h 828000"/>
              <a:gd name="connsiteX3" fmla="*/ 0 w 5400081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00081" h="828000">
                <a:moveTo>
                  <a:pt x="509009" y="0"/>
                </a:moveTo>
                <a:lnTo>
                  <a:pt x="4891072" y="0"/>
                </a:lnTo>
                <a:lnTo>
                  <a:pt x="5400081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3283E8B7-08B0-4AA8-AD53-028048CE98B2}"/>
              </a:ext>
            </a:extLst>
          </p:cNvPr>
          <p:cNvSpPr txBox="1">
            <a:spLocks/>
          </p:cNvSpPr>
          <p:nvPr/>
        </p:nvSpPr>
        <p:spPr>
          <a:xfrm>
            <a:off x="5587248" y="2133124"/>
            <a:ext cx="1018019" cy="57606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  <a:endParaRPr lang="fr-FR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8CA98C28-CAE5-40B3-BC83-9D2100242FB9}"/>
              </a:ext>
            </a:extLst>
          </p:cNvPr>
          <p:cNvSpPr txBox="1">
            <a:spLocks/>
          </p:cNvSpPr>
          <p:nvPr/>
        </p:nvSpPr>
        <p:spPr>
          <a:xfrm>
            <a:off x="5555543" y="2772220"/>
            <a:ext cx="1080120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37BC203F-0475-4DE4-8503-2C2009F98DDF}"/>
              </a:ext>
            </a:extLst>
          </p:cNvPr>
          <p:cNvSpPr txBox="1">
            <a:spLocks/>
          </p:cNvSpPr>
          <p:nvPr/>
        </p:nvSpPr>
        <p:spPr>
          <a:xfrm>
            <a:off x="5015483" y="3663252"/>
            <a:ext cx="2160240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63A2C66-9A41-402B-B73D-B645E9154561}"/>
              </a:ext>
            </a:extLst>
          </p:cNvPr>
          <p:cNvSpPr txBox="1">
            <a:spLocks/>
          </p:cNvSpPr>
          <p:nvPr/>
        </p:nvSpPr>
        <p:spPr>
          <a:xfrm>
            <a:off x="4458720" y="4554284"/>
            <a:ext cx="3293067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2D8623F8-9167-48F9-8891-D1D41CBBB835}"/>
              </a:ext>
            </a:extLst>
          </p:cNvPr>
          <p:cNvSpPr txBox="1">
            <a:spLocks/>
          </p:cNvSpPr>
          <p:nvPr/>
        </p:nvSpPr>
        <p:spPr>
          <a:xfrm>
            <a:off x="3899359" y="5445316"/>
            <a:ext cx="4392487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1112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5</a:t>
            </a:fld>
            <a:endParaRPr lang="de-DE" dirty="0"/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54AD326-C129-488E-92E0-5E75FD6A7606}"/>
              </a:ext>
            </a:extLst>
          </p:cNvPr>
          <p:cNvCxnSpPr>
            <a:cxnSpLocks/>
          </p:cNvCxnSpPr>
          <p:nvPr/>
        </p:nvCxnSpPr>
        <p:spPr>
          <a:xfrm>
            <a:off x="7212648" y="3600220"/>
            <a:ext cx="457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4D794290-C5FE-4C78-A757-3EEF6040244B}"/>
              </a:ext>
            </a:extLst>
          </p:cNvPr>
          <p:cNvCxnSpPr>
            <a:cxnSpLocks/>
          </p:cNvCxnSpPr>
          <p:nvPr/>
        </p:nvCxnSpPr>
        <p:spPr>
          <a:xfrm>
            <a:off x="8292244" y="5382284"/>
            <a:ext cx="349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6D8F9705-8D3D-4FE6-A48A-540351D93DF8}"/>
              </a:ext>
            </a:extLst>
          </p:cNvPr>
          <p:cNvCxnSpPr>
            <a:cxnSpLocks/>
          </p:cNvCxnSpPr>
          <p:nvPr/>
        </p:nvCxnSpPr>
        <p:spPr>
          <a:xfrm flipH="1">
            <a:off x="413972" y="2709188"/>
            <a:ext cx="511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B8CCB36F-8071-4A7A-87A9-25427C5E2FE3}"/>
              </a:ext>
            </a:extLst>
          </p:cNvPr>
          <p:cNvCxnSpPr>
            <a:cxnSpLocks/>
          </p:cNvCxnSpPr>
          <p:nvPr/>
        </p:nvCxnSpPr>
        <p:spPr>
          <a:xfrm flipH="1">
            <a:off x="409587" y="4491252"/>
            <a:ext cx="403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D0A83CB1-D960-4277-BD86-E2AF0BD69819}"/>
              </a:ext>
            </a:extLst>
          </p:cNvPr>
          <p:cNvSpPr txBox="1">
            <a:spLocks/>
          </p:cNvSpPr>
          <p:nvPr/>
        </p:nvSpPr>
        <p:spPr>
          <a:xfrm>
            <a:off x="803413" y="1881188"/>
            <a:ext cx="4636668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1">
              <a:spcAft>
                <a:spcPts val="0"/>
              </a:spcAft>
            </a:pPr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.</a:t>
            </a:r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CB3C71EA-2C34-4C66-9299-DFAEFDD3131F}"/>
              </a:ext>
            </a:extLst>
          </p:cNvPr>
          <p:cNvSpPr txBox="1">
            <a:spLocks/>
          </p:cNvSpPr>
          <p:nvPr/>
        </p:nvSpPr>
        <p:spPr>
          <a:xfrm>
            <a:off x="7248128" y="2772220"/>
            <a:ext cx="4140460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</a:t>
            </a:r>
            <a:r>
              <a:rPr lang="de-DE" dirty="0"/>
              <a:t>.</a:t>
            </a:r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D6585B77-205A-41CF-83AB-1BD85575273B}"/>
              </a:ext>
            </a:extLst>
          </p:cNvPr>
          <p:cNvSpPr txBox="1">
            <a:spLocks/>
          </p:cNvSpPr>
          <p:nvPr/>
        </p:nvSpPr>
        <p:spPr>
          <a:xfrm>
            <a:off x="803413" y="3663252"/>
            <a:ext cx="3564396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</a:t>
            </a:r>
            <a:r>
              <a:rPr lang="de-DE" dirty="0"/>
              <a:t>.</a:t>
            </a:r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9CD5F0E9-BD14-4A41-AE65-A210E9A02738}"/>
              </a:ext>
            </a:extLst>
          </p:cNvPr>
          <p:cNvSpPr txBox="1">
            <a:spLocks/>
          </p:cNvSpPr>
          <p:nvPr/>
        </p:nvSpPr>
        <p:spPr>
          <a:xfrm>
            <a:off x="803412" y="5445316"/>
            <a:ext cx="2591493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.</a:t>
            </a:r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E97D7302-F5C3-4295-820E-CAB78C29E649}"/>
              </a:ext>
            </a:extLst>
          </p:cNvPr>
          <p:cNvSpPr txBox="1">
            <a:spLocks/>
          </p:cNvSpPr>
          <p:nvPr/>
        </p:nvSpPr>
        <p:spPr>
          <a:xfrm>
            <a:off x="8291846" y="4554284"/>
            <a:ext cx="3096742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90F2D594-7504-4767-8102-3B218D73DD40}"/>
              </a:ext>
            </a:extLst>
          </p:cNvPr>
          <p:cNvCxnSpPr>
            <a:cxnSpLocks/>
          </p:cNvCxnSpPr>
          <p:nvPr/>
        </p:nvCxnSpPr>
        <p:spPr>
          <a:xfrm flipH="1">
            <a:off x="407990" y="6273316"/>
            <a:ext cx="29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B8DEC03D-CA62-4E9C-9119-9953DDC24FB4}"/>
              </a:ext>
            </a:extLst>
          </p:cNvPr>
          <p:cNvGrpSpPr/>
          <p:nvPr/>
        </p:nvGrpSpPr>
        <p:grpSpPr>
          <a:xfrm>
            <a:off x="3400388" y="1879600"/>
            <a:ext cx="5395912" cy="4393716"/>
            <a:chOff x="404813" y="1879600"/>
            <a:chExt cx="5395912" cy="4393716"/>
          </a:xfrm>
        </p:grpSpPr>
        <p:sp>
          <p:nvSpPr>
            <p:cNvPr id="31" name="Textplatzhalter 2">
              <a:extLst>
                <a:ext uri="{FF2B5EF4-FFF2-40B4-BE49-F238E27FC236}">
                  <a16:creationId xmlns:a16="http://schemas.microsoft.com/office/drawing/2014/main" id="{5F85E6CC-ADCE-4D45-B971-ACB25EFDBFB3}"/>
                </a:ext>
              </a:extLst>
            </p:cNvPr>
            <p:cNvSpPr txBox="1">
              <a:spLocks/>
            </p:cNvSpPr>
            <p:nvPr/>
          </p:nvSpPr>
          <p:spPr>
            <a:xfrm>
              <a:off x="2599313" y="2240868"/>
              <a:ext cx="1018019" cy="46832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b="1" dirty="0"/>
                <a:t>Text</a:t>
              </a:r>
              <a:endParaRPr lang="fr-FR" b="1" dirty="0"/>
            </a:p>
          </p:txBody>
        </p:sp>
        <p:sp>
          <p:nvSpPr>
            <p:cNvPr id="32" name="Textplatzhalter 2">
              <a:extLst>
                <a:ext uri="{FF2B5EF4-FFF2-40B4-BE49-F238E27FC236}">
                  <a16:creationId xmlns:a16="http://schemas.microsoft.com/office/drawing/2014/main" id="{A411C4B1-2288-424F-841C-C2FA5D4C9726}"/>
                </a:ext>
              </a:extLst>
            </p:cNvPr>
            <p:cNvSpPr txBox="1">
              <a:spLocks/>
            </p:cNvSpPr>
            <p:nvPr/>
          </p:nvSpPr>
          <p:spPr>
            <a:xfrm>
              <a:off x="2567608" y="2772220"/>
              <a:ext cx="1080120" cy="82800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33" name="Textplatzhalter 2">
              <a:extLst>
                <a:ext uri="{FF2B5EF4-FFF2-40B4-BE49-F238E27FC236}">
                  <a16:creationId xmlns:a16="http://schemas.microsoft.com/office/drawing/2014/main" id="{52887159-9371-43A3-9890-EB41A9CE9259}"/>
                </a:ext>
              </a:extLst>
            </p:cNvPr>
            <p:cNvSpPr txBox="1">
              <a:spLocks/>
            </p:cNvSpPr>
            <p:nvPr/>
          </p:nvSpPr>
          <p:spPr>
            <a:xfrm>
              <a:off x="2027548" y="3663252"/>
              <a:ext cx="2160240" cy="82800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34" name="Textplatzhalter 2">
              <a:extLst>
                <a:ext uri="{FF2B5EF4-FFF2-40B4-BE49-F238E27FC236}">
                  <a16:creationId xmlns:a16="http://schemas.microsoft.com/office/drawing/2014/main" id="{52F75A26-196B-4220-86B8-741FA8E8050B}"/>
                </a:ext>
              </a:extLst>
            </p:cNvPr>
            <p:cNvSpPr txBox="1">
              <a:spLocks/>
            </p:cNvSpPr>
            <p:nvPr/>
          </p:nvSpPr>
          <p:spPr>
            <a:xfrm>
              <a:off x="1470785" y="4554284"/>
              <a:ext cx="3293067" cy="82800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45" name="Textplatzhalter 2">
              <a:extLst>
                <a:ext uri="{FF2B5EF4-FFF2-40B4-BE49-F238E27FC236}">
                  <a16:creationId xmlns:a16="http://schemas.microsoft.com/office/drawing/2014/main" id="{ED01F628-CC52-4CF2-AECF-91C11F8ECF14}"/>
                </a:ext>
              </a:extLst>
            </p:cNvPr>
            <p:cNvSpPr txBox="1">
              <a:spLocks/>
            </p:cNvSpPr>
            <p:nvPr/>
          </p:nvSpPr>
          <p:spPr>
            <a:xfrm>
              <a:off x="911424" y="5445316"/>
              <a:ext cx="4392487" cy="82800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378F53E2-0EBE-4153-B4D6-372CDE84FB73}"/>
                </a:ext>
              </a:extLst>
            </p:cNvPr>
            <p:cNvSpPr/>
            <p:nvPr/>
          </p:nvSpPr>
          <p:spPr>
            <a:xfrm>
              <a:off x="2597150" y="1879600"/>
              <a:ext cx="1016000" cy="831850"/>
            </a:xfrm>
            <a:custGeom>
              <a:avLst/>
              <a:gdLst>
                <a:gd name="connsiteX0" fmla="*/ 0 w 1016000"/>
                <a:gd name="connsiteY0" fmla="*/ 825500 h 831850"/>
                <a:gd name="connsiteX1" fmla="*/ 508000 w 1016000"/>
                <a:gd name="connsiteY1" fmla="*/ 0 h 831850"/>
                <a:gd name="connsiteX2" fmla="*/ 1016000 w 1016000"/>
                <a:gd name="connsiteY2" fmla="*/ 831850 h 83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6000" h="831850">
                  <a:moveTo>
                    <a:pt x="0" y="825500"/>
                  </a:moveTo>
                  <a:lnTo>
                    <a:pt x="508000" y="0"/>
                  </a:lnTo>
                  <a:lnTo>
                    <a:pt x="1016000" y="831850"/>
                  </a:lnTo>
                </a:path>
              </a:pathLst>
            </a:custGeom>
            <a:noFill/>
            <a:ln w="38100" cap="rnd">
              <a:solidFill>
                <a:schemeClr val="tx2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D869B2AF-8E4F-44C3-B1F3-7E0D19E1B62C}"/>
                </a:ext>
              </a:extLst>
            </p:cNvPr>
            <p:cNvSpPr/>
            <p:nvPr/>
          </p:nvSpPr>
          <p:spPr>
            <a:xfrm>
              <a:off x="2052638" y="2771775"/>
              <a:ext cx="2112168" cy="826294"/>
            </a:xfrm>
            <a:custGeom>
              <a:avLst/>
              <a:gdLst>
                <a:gd name="connsiteX0" fmla="*/ 0 w 2112168"/>
                <a:gd name="connsiteY0" fmla="*/ 826294 h 826294"/>
                <a:gd name="connsiteX1" fmla="*/ 507206 w 2112168"/>
                <a:gd name="connsiteY1" fmla="*/ 0 h 826294"/>
                <a:gd name="connsiteX2" fmla="*/ 1600200 w 2112168"/>
                <a:gd name="connsiteY2" fmla="*/ 0 h 826294"/>
                <a:gd name="connsiteX3" fmla="*/ 2112168 w 2112168"/>
                <a:gd name="connsiteY3" fmla="*/ 826294 h 826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168" h="826294">
                  <a:moveTo>
                    <a:pt x="0" y="826294"/>
                  </a:moveTo>
                  <a:lnTo>
                    <a:pt x="507206" y="0"/>
                  </a:lnTo>
                  <a:lnTo>
                    <a:pt x="1600200" y="0"/>
                  </a:lnTo>
                  <a:lnTo>
                    <a:pt x="2112168" y="826294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rou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20C2500-6CCA-4791-8A76-266B7770CC1C}"/>
                </a:ext>
              </a:extLst>
            </p:cNvPr>
            <p:cNvSpPr/>
            <p:nvPr/>
          </p:nvSpPr>
          <p:spPr>
            <a:xfrm>
              <a:off x="1504950" y="3663950"/>
              <a:ext cx="3203575" cy="828675"/>
            </a:xfrm>
            <a:custGeom>
              <a:avLst/>
              <a:gdLst>
                <a:gd name="connsiteX0" fmla="*/ 0 w 3203575"/>
                <a:gd name="connsiteY0" fmla="*/ 822325 h 828675"/>
                <a:gd name="connsiteX1" fmla="*/ 511175 w 3203575"/>
                <a:gd name="connsiteY1" fmla="*/ 0 h 828675"/>
                <a:gd name="connsiteX2" fmla="*/ 2698750 w 3203575"/>
                <a:gd name="connsiteY2" fmla="*/ 0 h 828675"/>
                <a:gd name="connsiteX3" fmla="*/ 3203575 w 3203575"/>
                <a:gd name="connsiteY3" fmla="*/ 828675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3575" h="828675">
                  <a:moveTo>
                    <a:pt x="0" y="822325"/>
                  </a:moveTo>
                  <a:lnTo>
                    <a:pt x="511175" y="0"/>
                  </a:lnTo>
                  <a:lnTo>
                    <a:pt x="2698750" y="0"/>
                  </a:lnTo>
                  <a:lnTo>
                    <a:pt x="3203575" y="828675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rou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CFA8A4F7-1C70-4799-9A15-23032FBDF8AF}"/>
                </a:ext>
              </a:extLst>
            </p:cNvPr>
            <p:cNvSpPr/>
            <p:nvPr/>
          </p:nvSpPr>
          <p:spPr>
            <a:xfrm>
              <a:off x="947738" y="4557713"/>
              <a:ext cx="4310062" cy="828675"/>
            </a:xfrm>
            <a:custGeom>
              <a:avLst/>
              <a:gdLst>
                <a:gd name="connsiteX0" fmla="*/ 0 w 4310062"/>
                <a:gd name="connsiteY0" fmla="*/ 828675 h 828675"/>
                <a:gd name="connsiteX1" fmla="*/ 509587 w 4310062"/>
                <a:gd name="connsiteY1" fmla="*/ 0 h 828675"/>
                <a:gd name="connsiteX2" fmla="*/ 3800475 w 4310062"/>
                <a:gd name="connsiteY2" fmla="*/ 0 h 828675"/>
                <a:gd name="connsiteX3" fmla="*/ 4310062 w 4310062"/>
                <a:gd name="connsiteY3" fmla="*/ 823912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0062" h="828675">
                  <a:moveTo>
                    <a:pt x="0" y="828675"/>
                  </a:moveTo>
                  <a:lnTo>
                    <a:pt x="509587" y="0"/>
                  </a:lnTo>
                  <a:lnTo>
                    <a:pt x="3800475" y="0"/>
                  </a:lnTo>
                  <a:lnTo>
                    <a:pt x="4310062" y="823912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679EC502-350A-4482-875D-B91F6A87CA77}"/>
                </a:ext>
              </a:extLst>
            </p:cNvPr>
            <p:cNvSpPr/>
            <p:nvPr/>
          </p:nvSpPr>
          <p:spPr>
            <a:xfrm>
              <a:off x="404813" y="5448300"/>
              <a:ext cx="5395912" cy="823913"/>
            </a:xfrm>
            <a:custGeom>
              <a:avLst/>
              <a:gdLst>
                <a:gd name="connsiteX0" fmla="*/ 0 w 5395912"/>
                <a:gd name="connsiteY0" fmla="*/ 823913 h 823913"/>
                <a:gd name="connsiteX1" fmla="*/ 514350 w 5395912"/>
                <a:gd name="connsiteY1" fmla="*/ 0 h 823913"/>
                <a:gd name="connsiteX2" fmla="*/ 4895850 w 5395912"/>
                <a:gd name="connsiteY2" fmla="*/ 0 h 823913"/>
                <a:gd name="connsiteX3" fmla="*/ 5395912 w 5395912"/>
                <a:gd name="connsiteY3" fmla="*/ 823913 h 82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95912" h="823913">
                  <a:moveTo>
                    <a:pt x="0" y="823913"/>
                  </a:moveTo>
                  <a:lnTo>
                    <a:pt x="514350" y="0"/>
                  </a:lnTo>
                  <a:lnTo>
                    <a:pt x="4895850" y="0"/>
                  </a:lnTo>
                  <a:lnTo>
                    <a:pt x="5395912" y="823913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11E38153-C7D1-4BC6-822B-228AA6D05082}"/>
              </a:ext>
            </a:extLst>
          </p:cNvPr>
          <p:cNvSpPr/>
          <p:nvPr/>
        </p:nvSpPr>
        <p:spPr>
          <a:xfrm>
            <a:off x="407988" y="1881188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91C26F4-99B0-48BA-AC0E-15DEDEF2017B}"/>
              </a:ext>
            </a:extLst>
          </p:cNvPr>
          <p:cNvSpPr/>
          <p:nvPr/>
        </p:nvSpPr>
        <p:spPr>
          <a:xfrm>
            <a:off x="407988" y="3663252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DE520F36-05AD-4787-B6FE-DC48575F8198}"/>
              </a:ext>
            </a:extLst>
          </p:cNvPr>
          <p:cNvSpPr/>
          <p:nvPr/>
        </p:nvSpPr>
        <p:spPr>
          <a:xfrm>
            <a:off x="407988" y="5445316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8A057A3-8576-4EB5-8444-C10144794CBA}"/>
              </a:ext>
            </a:extLst>
          </p:cNvPr>
          <p:cNvSpPr/>
          <p:nvPr/>
        </p:nvSpPr>
        <p:spPr>
          <a:xfrm>
            <a:off x="11427991" y="2772220"/>
            <a:ext cx="35942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5EBC55A-AC70-402C-B391-6B6D8E05700D}"/>
              </a:ext>
            </a:extLst>
          </p:cNvPr>
          <p:cNvSpPr/>
          <p:nvPr/>
        </p:nvSpPr>
        <p:spPr>
          <a:xfrm>
            <a:off x="11427991" y="4554284"/>
            <a:ext cx="35942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70370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6</a:t>
            </a:fld>
            <a:endParaRPr lang="de-DE" dirty="0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EA98D3D1-0859-4F40-999F-8750A480A7AF}"/>
              </a:ext>
            </a:extLst>
          </p:cNvPr>
          <p:cNvSpPr/>
          <p:nvPr/>
        </p:nvSpPr>
        <p:spPr>
          <a:xfrm>
            <a:off x="2599316" y="1881188"/>
            <a:ext cx="1018018" cy="828000"/>
          </a:xfrm>
          <a:custGeom>
            <a:avLst/>
            <a:gdLst>
              <a:gd name="connsiteX0" fmla="*/ 509009 w 1018018"/>
              <a:gd name="connsiteY0" fmla="*/ 0 h 828000"/>
              <a:gd name="connsiteX1" fmla="*/ 1018018 w 1018018"/>
              <a:gd name="connsiteY1" fmla="*/ 828000 h 828000"/>
              <a:gd name="connsiteX2" fmla="*/ 0 w 1018018"/>
              <a:gd name="connsiteY2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8018" h="828000">
                <a:moveTo>
                  <a:pt x="509009" y="0"/>
                </a:moveTo>
                <a:lnTo>
                  <a:pt x="1018018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E810C316-5BFA-46A3-8CC7-3BB64C0063EE}"/>
              </a:ext>
            </a:extLst>
          </p:cNvPr>
          <p:cNvSpPr/>
          <p:nvPr/>
        </p:nvSpPr>
        <p:spPr>
          <a:xfrm>
            <a:off x="2051558" y="2772220"/>
            <a:ext cx="2113534" cy="828000"/>
          </a:xfrm>
          <a:custGeom>
            <a:avLst/>
            <a:gdLst>
              <a:gd name="connsiteX0" fmla="*/ 509009 w 2113534"/>
              <a:gd name="connsiteY0" fmla="*/ 0 h 828000"/>
              <a:gd name="connsiteX1" fmla="*/ 1604525 w 2113534"/>
              <a:gd name="connsiteY1" fmla="*/ 0 h 828000"/>
              <a:gd name="connsiteX2" fmla="*/ 2113534 w 2113534"/>
              <a:gd name="connsiteY2" fmla="*/ 828000 h 828000"/>
              <a:gd name="connsiteX3" fmla="*/ 0 w 2113534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13534" h="828000">
                <a:moveTo>
                  <a:pt x="509009" y="0"/>
                </a:moveTo>
                <a:lnTo>
                  <a:pt x="1604525" y="0"/>
                </a:lnTo>
                <a:lnTo>
                  <a:pt x="2113534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4C0F2C2B-5D80-4E5A-97F0-7CFD31D0A9C5}"/>
              </a:ext>
            </a:extLst>
          </p:cNvPr>
          <p:cNvSpPr/>
          <p:nvPr/>
        </p:nvSpPr>
        <p:spPr>
          <a:xfrm>
            <a:off x="1503800" y="3663252"/>
            <a:ext cx="3209050" cy="828000"/>
          </a:xfrm>
          <a:custGeom>
            <a:avLst/>
            <a:gdLst>
              <a:gd name="connsiteX0" fmla="*/ 509009 w 3209050"/>
              <a:gd name="connsiteY0" fmla="*/ 0 h 828000"/>
              <a:gd name="connsiteX1" fmla="*/ 2700041 w 3209050"/>
              <a:gd name="connsiteY1" fmla="*/ 0 h 828000"/>
              <a:gd name="connsiteX2" fmla="*/ 3209050 w 3209050"/>
              <a:gd name="connsiteY2" fmla="*/ 828000 h 828000"/>
              <a:gd name="connsiteX3" fmla="*/ 0 w 3209050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050" h="828000">
                <a:moveTo>
                  <a:pt x="509009" y="0"/>
                </a:moveTo>
                <a:lnTo>
                  <a:pt x="2700041" y="0"/>
                </a:lnTo>
                <a:lnTo>
                  <a:pt x="3209050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4518B39-7B74-4906-A171-806732C57416}"/>
              </a:ext>
            </a:extLst>
          </p:cNvPr>
          <p:cNvSpPr/>
          <p:nvPr/>
        </p:nvSpPr>
        <p:spPr>
          <a:xfrm>
            <a:off x="956042" y="4554284"/>
            <a:ext cx="4304566" cy="828000"/>
          </a:xfrm>
          <a:custGeom>
            <a:avLst/>
            <a:gdLst>
              <a:gd name="connsiteX0" fmla="*/ 509009 w 4304566"/>
              <a:gd name="connsiteY0" fmla="*/ 0 h 828000"/>
              <a:gd name="connsiteX1" fmla="*/ 3795556 w 4304566"/>
              <a:gd name="connsiteY1" fmla="*/ 0 h 828000"/>
              <a:gd name="connsiteX2" fmla="*/ 4304566 w 4304566"/>
              <a:gd name="connsiteY2" fmla="*/ 828000 h 828000"/>
              <a:gd name="connsiteX3" fmla="*/ 0 w 4304566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4566" h="828000">
                <a:moveTo>
                  <a:pt x="509009" y="0"/>
                </a:moveTo>
                <a:lnTo>
                  <a:pt x="3795556" y="0"/>
                </a:lnTo>
                <a:lnTo>
                  <a:pt x="4304566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D244197D-338A-4998-A654-76B8D2CDD911}"/>
              </a:ext>
            </a:extLst>
          </p:cNvPr>
          <p:cNvSpPr/>
          <p:nvPr/>
        </p:nvSpPr>
        <p:spPr>
          <a:xfrm>
            <a:off x="408284" y="5445316"/>
            <a:ext cx="5400081" cy="828000"/>
          </a:xfrm>
          <a:custGeom>
            <a:avLst/>
            <a:gdLst>
              <a:gd name="connsiteX0" fmla="*/ 509009 w 5400081"/>
              <a:gd name="connsiteY0" fmla="*/ 0 h 828000"/>
              <a:gd name="connsiteX1" fmla="*/ 4891072 w 5400081"/>
              <a:gd name="connsiteY1" fmla="*/ 0 h 828000"/>
              <a:gd name="connsiteX2" fmla="*/ 5400081 w 5400081"/>
              <a:gd name="connsiteY2" fmla="*/ 828000 h 828000"/>
              <a:gd name="connsiteX3" fmla="*/ 0 w 5400081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00081" h="828000">
                <a:moveTo>
                  <a:pt x="509009" y="0"/>
                </a:moveTo>
                <a:lnTo>
                  <a:pt x="4891072" y="0"/>
                </a:lnTo>
                <a:lnTo>
                  <a:pt x="5400081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96B37BE0-6539-4B0A-8581-6F8DD546E247}"/>
              </a:ext>
            </a:extLst>
          </p:cNvPr>
          <p:cNvSpPr txBox="1">
            <a:spLocks/>
          </p:cNvSpPr>
          <p:nvPr/>
        </p:nvSpPr>
        <p:spPr>
          <a:xfrm>
            <a:off x="2599313" y="2133124"/>
            <a:ext cx="1018019" cy="57606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  <a:endParaRPr lang="fr-FR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9C267F3-4260-444E-B01C-324885288DA1}"/>
              </a:ext>
            </a:extLst>
          </p:cNvPr>
          <p:cNvSpPr txBox="1">
            <a:spLocks/>
          </p:cNvSpPr>
          <p:nvPr/>
        </p:nvSpPr>
        <p:spPr>
          <a:xfrm>
            <a:off x="2567608" y="2772220"/>
            <a:ext cx="1080120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C44735C3-B208-42C7-BDEB-9E8743F498A3}"/>
              </a:ext>
            </a:extLst>
          </p:cNvPr>
          <p:cNvSpPr txBox="1">
            <a:spLocks/>
          </p:cNvSpPr>
          <p:nvPr/>
        </p:nvSpPr>
        <p:spPr>
          <a:xfrm>
            <a:off x="2027548" y="3663252"/>
            <a:ext cx="2160240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2EE1A6B9-9D44-43A3-9A59-10A6D6597FC1}"/>
              </a:ext>
            </a:extLst>
          </p:cNvPr>
          <p:cNvSpPr txBox="1">
            <a:spLocks/>
          </p:cNvSpPr>
          <p:nvPr/>
        </p:nvSpPr>
        <p:spPr>
          <a:xfrm>
            <a:off x="1470785" y="4554284"/>
            <a:ext cx="3293067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B12154F8-8DA2-451B-97FD-CDE38CA1E4A3}"/>
              </a:ext>
            </a:extLst>
          </p:cNvPr>
          <p:cNvSpPr txBox="1">
            <a:spLocks/>
          </p:cNvSpPr>
          <p:nvPr/>
        </p:nvSpPr>
        <p:spPr>
          <a:xfrm>
            <a:off x="911424" y="5445316"/>
            <a:ext cx="4392487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240482C0-E4B2-4098-AD15-97DCCB18DF37}"/>
              </a:ext>
            </a:extLst>
          </p:cNvPr>
          <p:cNvCxnSpPr>
            <a:cxnSpLocks/>
          </p:cNvCxnSpPr>
          <p:nvPr/>
        </p:nvCxnSpPr>
        <p:spPr>
          <a:xfrm>
            <a:off x="3683732" y="2740704"/>
            <a:ext cx="810028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778A81A7-8642-4211-9FF2-BB27E8F6CA02}"/>
              </a:ext>
            </a:extLst>
          </p:cNvPr>
          <p:cNvCxnSpPr>
            <a:cxnSpLocks/>
          </p:cNvCxnSpPr>
          <p:nvPr/>
        </p:nvCxnSpPr>
        <p:spPr>
          <a:xfrm>
            <a:off x="4223792" y="3631736"/>
            <a:ext cx="756022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4EC4B6A-6AB6-42D9-8F62-93824A81FD7E}"/>
              </a:ext>
            </a:extLst>
          </p:cNvPr>
          <p:cNvCxnSpPr>
            <a:cxnSpLocks/>
          </p:cNvCxnSpPr>
          <p:nvPr/>
        </p:nvCxnSpPr>
        <p:spPr>
          <a:xfrm>
            <a:off x="4764788" y="4522768"/>
            <a:ext cx="7019225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EE19B93-C318-44B4-8199-0D3FBD3BC818}"/>
              </a:ext>
            </a:extLst>
          </p:cNvPr>
          <p:cNvCxnSpPr>
            <a:cxnSpLocks/>
          </p:cNvCxnSpPr>
          <p:nvPr/>
        </p:nvCxnSpPr>
        <p:spPr>
          <a:xfrm>
            <a:off x="5339916" y="5413800"/>
            <a:ext cx="6444097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B90A813-FE95-4488-855F-D99F2342D2DB}"/>
              </a:ext>
            </a:extLst>
          </p:cNvPr>
          <p:cNvSpPr txBox="1">
            <a:spLocks/>
          </p:cNvSpPr>
          <p:nvPr/>
        </p:nvSpPr>
        <p:spPr>
          <a:xfrm>
            <a:off x="6383338" y="1881189"/>
            <a:ext cx="5388906" cy="859516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B84C60B0-67D0-4D6C-BE69-A4828249EA72}"/>
              </a:ext>
            </a:extLst>
          </p:cNvPr>
          <p:cNvSpPr txBox="1">
            <a:spLocks/>
          </p:cNvSpPr>
          <p:nvPr/>
        </p:nvSpPr>
        <p:spPr>
          <a:xfrm>
            <a:off x="6383338" y="2740703"/>
            <a:ext cx="5388906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29353DD8-E33D-46CD-95C9-FE4BE7869580}"/>
              </a:ext>
            </a:extLst>
          </p:cNvPr>
          <p:cNvSpPr txBox="1">
            <a:spLocks/>
          </p:cNvSpPr>
          <p:nvPr/>
        </p:nvSpPr>
        <p:spPr>
          <a:xfrm>
            <a:off x="6383338" y="3635041"/>
            <a:ext cx="5388906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A4046658-36A4-4A0F-8E7C-449AC512F36C}"/>
              </a:ext>
            </a:extLst>
          </p:cNvPr>
          <p:cNvSpPr txBox="1">
            <a:spLocks/>
          </p:cNvSpPr>
          <p:nvPr/>
        </p:nvSpPr>
        <p:spPr>
          <a:xfrm>
            <a:off x="6383338" y="4529379"/>
            <a:ext cx="5388906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7F3D74AC-C788-481F-963C-CA67F0427132}"/>
              </a:ext>
            </a:extLst>
          </p:cNvPr>
          <p:cNvSpPr txBox="1">
            <a:spLocks/>
          </p:cNvSpPr>
          <p:nvPr/>
        </p:nvSpPr>
        <p:spPr>
          <a:xfrm>
            <a:off x="6383337" y="5423717"/>
            <a:ext cx="5388906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11001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7</a:t>
            </a:fld>
            <a:endParaRPr lang="de-DE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240482C0-E4B2-4098-AD15-97DCCB18DF37}"/>
              </a:ext>
            </a:extLst>
          </p:cNvPr>
          <p:cNvCxnSpPr>
            <a:cxnSpLocks/>
          </p:cNvCxnSpPr>
          <p:nvPr/>
        </p:nvCxnSpPr>
        <p:spPr>
          <a:xfrm flipV="1">
            <a:off x="3767994" y="2740703"/>
            <a:ext cx="8028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778A81A7-8642-4211-9FF2-BB27E8F6CA02}"/>
              </a:ext>
            </a:extLst>
          </p:cNvPr>
          <p:cNvCxnSpPr>
            <a:cxnSpLocks/>
          </p:cNvCxnSpPr>
          <p:nvPr/>
        </p:nvCxnSpPr>
        <p:spPr>
          <a:xfrm>
            <a:off x="4319650" y="3635176"/>
            <a:ext cx="7470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4EC4B6A-6AB6-42D9-8F62-93824A81FD7E}"/>
              </a:ext>
            </a:extLst>
          </p:cNvPr>
          <p:cNvCxnSpPr>
            <a:cxnSpLocks/>
          </p:cNvCxnSpPr>
          <p:nvPr/>
        </p:nvCxnSpPr>
        <p:spPr>
          <a:xfrm>
            <a:off x="4863369" y="4528359"/>
            <a:ext cx="6930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EE19B93-C318-44B4-8199-0D3FBD3BC818}"/>
              </a:ext>
            </a:extLst>
          </p:cNvPr>
          <p:cNvCxnSpPr>
            <a:cxnSpLocks/>
          </p:cNvCxnSpPr>
          <p:nvPr/>
        </p:nvCxnSpPr>
        <p:spPr>
          <a:xfrm>
            <a:off x="5412644" y="5418732"/>
            <a:ext cx="637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B90A813-FE95-4488-855F-D99F2342D2DB}"/>
              </a:ext>
            </a:extLst>
          </p:cNvPr>
          <p:cNvSpPr txBox="1">
            <a:spLocks/>
          </p:cNvSpPr>
          <p:nvPr/>
        </p:nvSpPr>
        <p:spPr>
          <a:xfrm>
            <a:off x="6408244" y="1881189"/>
            <a:ext cx="5364000" cy="859516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6B940EF-939D-4826-A325-F3462188D952}"/>
              </a:ext>
            </a:extLst>
          </p:cNvPr>
          <p:cNvSpPr/>
          <p:nvPr/>
        </p:nvSpPr>
        <p:spPr>
          <a:xfrm>
            <a:off x="5844012" y="1881188"/>
            <a:ext cx="360000" cy="859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B84C60B0-67D0-4D6C-BE69-A4828249EA72}"/>
              </a:ext>
            </a:extLst>
          </p:cNvPr>
          <p:cNvSpPr txBox="1">
            <a:spLocks/>
          </p:cNvSpPr>
          <p:nvPr/>
        </p:nvSpPr>
        <p:spPr>
          <a:xfrm>
            <a:off x="6408244" y="2740703"/>
            <a:ext cx="5364000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BED4CA43-E730-40EA-9642-ABD22D7F54C5}"/>
              </a:ext>
            </a:extLst>
          </p:cNvPr>
          <p:cNvSpPr/>
          <p:nvPr/>
        </p:nvSpPr>
        <p:spPr>
          <a:xfrm>
            <a:off x="5844012" y="2740703"/>
            <a:ext cx="360000" cy="891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29353DD8-E33D-46CD-95C9-FE4BE7869580}"/>
              </a:ext>
            </a:extLst>
          </p:cNvPr>
          <p:cNvSpPr txBox="1">
            <a:spLocks/>
          </p:cNvSpPr>
          <p:nvPr/>
        </p:nvSpPr>
        <p:spPr>
          <a:xfrm>
            <a:off x="6408244" y="3635041"/>
            <a:ext cx="5364000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142F2EEB-C6B4-4C57-B925-4C5F66B66506}"/>
              </a:ext>
            </a:extLst>
          </p:cNvPr>
          <p:cNvSpPr/>
          <p:nvPr/>
        </p:nvSpPr>
        <p:spPr>
          <a:xfrm>
            <a:off x="5844012" y="3635041"/>
            <a:ext cx="360000" cy="891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A4046658-36A4-4A0F-8E7C-449AC512F36C}"/>
              </a:ext>
            </a:extLst>
          </p:cNvPr>
          <p:cNvSpPr txBox="1">
            <a:spLocks/>
          </p:cNvSpPr>
          <p:nvPr/>
        </p:nvSpPr>
        <p:spPr>
          <a:xfrm>
            <a:off x="6408244" y="4529379"/>
            <a:ext cx="5364000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7845C4D-BB1E-4B18-9058-6E161266FB7E}"/>
              </a:ext>
            </a:extLst>
          </p:cNvPr>
          <p:cNvSpPr/>
          <p:nvPr/>
        </p:nvSpPr>
        <p:spPr>
          <a:xfrm>
            <a:off x="5844012" y="4529379"/>
            <a:ext cx="360000" cy="891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7F3D74AC-C788-481F-963C-CA67F0427132}"/>
              </a:ext>
            </a:extLst>
          </p:cNvPr>
          <p:cNvSpPr txBox="1">
            <a:spLocks/>
          </p:cNvSpPr>
          <p:nvPr/>
        </p:nvSpPr>
        <p:spPr>
          <a:xfrm>
            <a:off x="6408243" y="5423717"/>
            <a:ext cx="5364000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3065B365-E9DE-4FBC-9F3F-26BFB6CF16E1}"/>
              </a:ext>
            </a:extLst>
          </p:cNvPr>
          <p:cNvSpPr/>
          <p:nvPr/>
        </p:nvSpPr>
        <p:spPr>
          <a:xfrm>
            <a:off x="5844012" y="5423717"/>
            <a:ext cx="360000" cy="891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5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6C96953-39D3-481E-94F4-87D16D32E849}"/>
              </a:ext>
            </a:extLst>
          </p:cNvPr>
          <p:cNvGrpSpPr/>
          <p:nvPr/>
        </p:nvGrpSpPr>
        <p:grpSpPr>
          <a:xfrm>
            <a:off x="404813" y="1879600"/>
            <a:ext cx="5395912" cy="4393716"/>
            <a:chOff x="404813" y="1879600"/>
            <a:chExt cx="5395912" cy="4393716"/>
          </a:xfrm>
        </p:grpSpPr>
        <p:sp>
          <p:nvSpPr>
            <p:cNvPr id="21" name="Textplatzhalter 2">
              <a:extLst>
                <a:ext uri="{FF2B5EF4-FFF2-40B4-BE49-F238E27FC236}">
                  <a16:creationId xmlns:a16="http://schemas.microsoft.com/office/drawing/2014/main" id="{96B37BE0-6539-4B0A-8581-6F8DD546E247}"/>
                </a:ext>
              </a:extLst>
            </p:cNvPr>
            <p:cNvSpPr txBox="1">
              <a:spLocks/>
            </p:cNvSpPr>
            <p:nvPr/>
          </p:nvSpPr>
          <p:spPr>
            <a:xfrm>
              <a:off x="2599313" y="2240868"/>
              <a:ext cx="1018019" cy="46832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b="1" dirty="0"/>
                <a:t>Text</a:t>
              </a:r>
              <a:endParaRPr lang="fr-FR" b="1" dirty="0"/>
            </a:p>
          </p:txBody>
        </p:sp>
        <p:sp>
          <p:nvSpPr>
            <p:cNvPr id="22" name="Textplatzhalter 2">
              <a:extLst>
                <a:ext uri="{FF2B5EF4-FFF2-40B4-BE49-F238E27FC236}">
                  <a16:creationId xmlns:a16="http://schemas.microsoft.com/office/drawing/2014/main" id="{49C267F3-4260-444E-B01C-324885288DA1}"/>
                </a:ext>
              </a:extLst>
            </p:cNvPr>
            <p:cNvSpPr txBox="1">
              <a:spLocks/>
            </p:cNvSpPr>
            <p:nvPr/>
          </p:nvSpPr>
          <p:spPr>
            <a:xfrm>
              <a:off x="2567608" y="2772220"/>
              <a:ext cx="1080120" cy="82800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23" name="Textplatzhalter 2">
              <a:extLst>
                <a:ext uri="{FF2B5EF4-FFF2-40B4-BE49-F238E27FC236}">
                  <a16:creationId xmlns:a16="http://schemas.microsoft.com/office/drawing/2014/main" id="{C44735C3-B208-42C7-BDEB-9E8743F498A3}"/>
                </a:ext>
              </a:extLst>
            </p:cNvPr>
            <p:cNvSpPr txBox="1">
              <a:spLocks/>
            </p:cNvSpPr>
            <p:nvPr/>
          </p:nvSpPr>
          <p:spPr>
            <a:xfrm>
              <a:off x="2027548" y="3663252"/>
              <a:ext cx="2160240" cy="82800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24" name="Textplatzhalter 2">
              <a:extLst>
                <a:ext uri="{FF2B5EF4-FFF2-40B4-BE49-F238E27FC236}">
                  <a16:creationId xmlns:a16="http://schemas.microsoft.com/office/drawing/2014/main" id="{2EE1A6B9-9D44-43A3-9A59-10A6D6597FC1}"/>
                </a:ext>
              </a:extLst>
            </p:cNvPr>
            <p:cNvSpPr txBox="1">
              <a:spLocks/>
            </p:cNvSpPr>
            <p:nvPr/>
          </p:nvSpPr>
          <p:spPr>
            <a:xfrm>
              <a:off x="1470785" y="4554284"/>
              <a:ext cx="3293067" cy="82800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25" name="Textplatzhalter 2">
              <a:extLst>
                <a:ext uri="{FF2B5EF4-FFF2-40B4-BE49-F238E27FC236}">
                  <a16:creationId xmlns:a16="http://schemas.microsoft.com/office/drawing/2014/main" id="{B12154F8-8DA2-451B-97FD-CDE38CA1E4A3}"/>
                </a:ext>
              </a:extLst>
            </p:cNvPr>
            <p:cNvSpPr txBox="1">
              <a:spLocks/>
            </p:cNvSpPr>
            <p:nvPr/>
          </p:nvSpPr>
          <p:spPr>
            <a:xfrm>
              <a:off x="911424" y="5445316"/>
              <a:ext cx="4392487" cy="82800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BE65BE5E-E370-4AE6-AF38-5FEA37EA61AD}"/>
                </a:ext>
              </a:extLst>
            </p:cNvPr>
            <p:cNvSpPr/>
            <p:nvPr/>
          </p:nvSpPr>
          <p:spPr>
            <a:xfrm>
              <a:off x="2597150" y="1879600"/>
              <a:ext cx="1016000" cy="831850"/>
            </a:xfrm>
            <a:custGeom>
              <a:avLst/>
              <a:gdLst>
                <a:gd name="connsiteX0" fmla="*/ 0 w 1016000"/>
                <a:gd name="connsiteY0" fmla="*/ 825500 h 831850"/>
                <a:gd name="connsiteX1" fmla="*/ 508000 w 1016000"/>
                <a:gd name="connsiteY1" fmla="*/ 0 h 831850"/>
                <a:gd name="connsiteX2" fmla="*/ 1016000 w 1016000"/>
                <a:gd name="connsiteY2" fmla="*/ 831850 h 83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6000" h="831850">
                  <a:moveTo>
                    <a:pt x="0" y="825500"/>
                  </a:moveTo>
                  <a:lnTo>
                    <a:pt x="508000" y="0"/>
                  </a:lnTo>
                  <a:lnTo>
                    <a:pt x="1016000" y="831850"/>
                  </a:lnTo>
                </a:path>
              </a:pathLst>
            </a:custGeom>
            <a:noFill/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EC608571-8F3E-415C-9EC2-8AF90987361A}"/>
                </a:ext>
              </a:extLst>
            </p:cNvPr>
            <p:cNvSpPr/>
            <p:nvPr/>
          </p:nvSpPr>
          <p:spPr>
            <a:xfrm>
              <a:off x="2052638" y="2771775"/>
              <a:ext cx="2112168" cy="826294"/>
            </a:xfrm>
            <a:custGeom>
              <a:avLst/>
              <a:gdLst>
                <a:gd name="connsiteX0" fmla="*/ 0 w 2112168"/>
                <a:gd name="connsiteY0" fmla="*/ 826294 h 826294"/>
                <a:gd name="connsiteX1" fmla="*/ 507206 w 2112168"/>
                <a:gd name="connsiteY1" fmla="*/ 0 h 826294"/>
                <a:gd name="connsiteX2" fmla="*/ 1600200 w 2112168"/>
                <a:gd name="connsiteY2" fmla="*/ 0 h 826294"/>
                <a:gd name="connsiteX3" fmla="*/ 2112168 w 2112168"/>
                <a:gd name="connsiteY3" fmla="*/ 826294 h 826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168" h="826294">
                  <a:moveTo>
                    <a:pt x="0" y="826294"/>
                  </a:moveTo>
                  <a:lnTo>
                    <a:pt x="507206" y="0"/>
                  </a:lnTo>
                  <a:lnTo>
                    <a:pt x="1600200" y="0"/>
                  </a:lnTo>
                  <a:lnTo>
                    <a:pt x="2112168" y="8262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751883E7-C0C1-4B36-8464-E113990487A2}"/>
                </a:ext>
              </a:extLst>
            </p:cNvPr>
            <p:cNvSpPr/>
            <p:nvPr/>
          </p:nvSpPr>
          <p:spPr>
            <a:xfrm>
              <a:off x="1504950" y="3663950"/>
              <a:ext cx="3203575" cy="828675"/>
            </a:xfrm>
            <a:custGeom>
              <a:avLst/>
              <a:gdLst>
                <a:gd name="connsiteX0" fmla="*/ 0 w 3203575"/>
                <a:gd name="connsiteY0" fmla="*/ 822325 h 828675"/>
                <a:gd name="connsiteX1" fmla="*/ 511175 w 3203575"/>
                <a:gd name="connsiteY1" fmla="*/ 0 h 828675"/>
                <a:gd name="connsiteX2" fmla="*/ 2698750 w 3203575"/>
                <a:gd name="connsiteY2" fmla="*/ 0 h 828675"/>
                <a:gd name="connsiteX3" fmla="*/ 3203575 w 3203575"/>
                <a:gd name="connsiteY3" fmla="*/ 828675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3575" h="828675">
                  <a:moveTo>
                    <a:pt x="0" y="822325"/>
                  </a:moveTo>
                  <a:lnTo>
                    <a:pt x="511175" y="0"/>
                  </a:lnTo>
                  <a:lnTo>
                    <a:pt x="2698750" y="0"/>
                  </a:lnTo>
                  <a:lnTo>
                    <a:pt x="3203575" y="828675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D2F2E0AD-C7A3-455F-AF33-8355835416F0}"/>
                </a:ext>
              </a:extLst>
            </p:cNvPr>
            <p:cNvSpPr/>
            <p:nvPr/>
          </p:nvSpPr>
          <p:spPr>
            <a:xfrm>
              <a:off x="947738" y="4557713"/>
              <a:ext cx="4310062" cy="828675"/>
            </a:xfrm>
            <a:custGeom>
              <a:avLst/>
              <a:gdLst>
                <a:gd name="connsiteX0" fmla="*/ 0 w 4310062"/>
                <a:gd name="connsiteY0" fmla="*/ 828675 h 828675"/>
                <a:gd name="connsiteX1" fmla="*/ 509587 w 4310062"/>
                <a:gd name="connsiteY1" fmla="*/ 0 h 828675"/>
                <a:gd name="connsiteX2" fmla="*/ 3800475 w 4310062"/>
                <a:gd name="connsiteY2" fmla="*/ 0 h 828675"/>
                <a:gd name="connsiteX3" fmla="*/ 4310062 w 4310062"/>
                <a:gd name="connsiteY3" fmla="*/ 823912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0062" h="828675">
                  <a:moveTo>
                    <a:pt x="0" y="828675"/>
                  </a:moveTo>
                  <a:lnTo>
                    <a:pt x="509587" y="0"/>
                  </a:lnTo>
                  <a:lnTo>
                    <a:pt x="3800475" y="0"/>
                  </a:lnTo>
                  <a:lnTo>
                    <a:pt x="4310062" y="823912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ADD48F84-F6D5-4341-BFFD-FE99BF270759}"/>
                </a:ext>
              </a:extLst>
            </p:cNvPr>
            <p:cNvSpPr/>
            <p:nvPr/>
          </p:nvSpPr>
          <p:spPr>
            <a:xfrm>
              <a:off x="404813" y="5448300"/>
              <a:ext cx="5395912" cy="823913"/>
            </a:xfrm>
            <a:custGeom>
              <a:avLst/>
              <a:gdLst>
                <a:gd name="connsiteX0" fmla="*/ 0 w 5395912"/>
                <a:gd name="connsiteY0" fmla="*/ 823913 h 823913"/>
                <a:gd name="connsiteX1" fmla="*/ 514350 w 5395912"/>
                <a:gd name="connsiteY1" fmla="*/ 0 h 823913"/>
                <a:gd name="connsiteX2" fmla="*/ 4895850 w 5395912"/>
                <a:gd name="connsiteY2" fmla="*/ 0 h 823913"/>
                <a:gd name="connsiteX3" fmla="*/ 5395912 w 5395912"/>
                <a:gd name="connsiteY3" fmla="*/ 823913 h 82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95912" h="823913">
                  <a:moveTo>
                    <a:pt x="0" y="823913"/>
                  </a:moveTo>
                  <a:lnTo>
                    <a:pt x="514350" y="0"/>
                  </a:lnTo>
                  <a:lnTo>
                    <a:pt x="4895850" y="0"/>
                  </a:lnTo>
                  <a:lnTo>
                    <a:pt x="5395912" y="823913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16527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  <a:br>
              <a:rPr lang="de-DE" dirty="0"/>
            </a:br>
            <a:r>
              <a:rPr lang="de-DE" dirty="0"/>
              <a:t>mit </a:t>
            </a:r>
            <a:r>
              <a:rPr lang="de-DE" dirty="0" err="1"/>
              <a:t>Komentar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8</a:t>
            </a:fld>
            <a:endParaRPr lang="de-DE" dirty="0"/>
          </a:p>
        </p:txBody>
      </p:sp>
      <p:sp>
        <p:nvSpPr>
          <p:cNvPr id="32" name="Freihandform: Form 31">
            <a:extLst>
              <a:ext uri="{FF2B5EF4-FFF2-40B4-BE49-F238E27FC236}">
                <a16:creationId xmlns:a16="http://schemas.microsoft.com/office/drawing/2014/main" id="{3D888964-C7D4-4016-9D9A-A2BDBD1FF017}"/>
              </a:ext>
            </a:extLst>
          </p:cNvPr>
          <p:cNvSpPr/>
          <p:nvPr/>
        </p:nvSpPr>
        <p:spPr>
          <a:xfrm>
            <a:off x="3422125" y="1881188"/>
            <a:ext cx="700295" cy="828000"/>
          </a:xfrm>
          <a:custGeom>
            <a:avLst/>
            <a:gdLst>
              <a:gd name="connsiteX0" fmla="*/ 700160 w 700295"/>
              <a:gd name="connsiteY0" fmla="*/ 0 h 828000"/>
              <a:gd name="connsiteX1" fmla="*/ 700295 w 700295"/>
              <a:gd name="connsiteY1" fmla="*/ 160 h 828000"/>
              <a:gd name="connsiteX2" fmla="*/ 700295 w 700295"/>
              <a:gd name="connsiteY2" fmla="*/ 828000 h 828000"/>
              <a:gd name="connsiteX3" fmla="*/ 0 w 700295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0295" h="828000">
                <a:moveTo>
                  <a:pt x="700160" y="0"/>
                </a:moveTo>
                <a:lnTo>
                  <a:pt x="700295" y="160"/>
                </a:lnTo>
                <a:lnTo>
                  <a:pt x="700295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B22DA563-5C3E-4056-B03F-3E4355DC7EA8}"/>
              </a:ext>
            </a:extLst>
          </p:cNvPr>
          <p:cNvSpPr/>
          <p:nvPr/>
        </p:nvSpPr>
        <p:spPr>
          <a:xfrm>
            <a:off x="2668666" y="2772220"/>
            <a:ext cx="1453755" cy="828000"/>
          </a:xfrm>
          <a:custGeom>
            <a:avLst/>
            <a:gdLst>
              <a:gd name="connsiteX0" fmla="*/ 700160 w 1453755"/>
              <a:gd name="connsiteY0" fmla="*/ 0 h 828000"/>
              <a:gd name="connsiteX1" fmla="*/ 1453755 w 1453755"/>
              <a:gd name="connsiteY1" fmla="*/ 0 h 828000"/>
              <a:gd name="connsiteX2" fmla="*/ 1453755 w 1453755"/>
              <a:gd name="connsiteY2" fmla="*/ 828000 h 828000"/>
              <a:gd name="connsiteX3" fmla="*/ 0 w 1453755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3755" h="828000">
                <a:moveTo>
                  <a:pt x="700160" y="0"/>
                </a:moveTo>
                <a:lnTo>
                  <a:pt x="1453755" y="0"/>
                </a:lnTo>
                <a:lnTo>
                  <a:pt x="1453755" y="828000"/>
                </a:lnTo>
                <a:lnTo>
                  <a:pt x="0" y="82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B248B17D-E3F9-4677-B622-4A159CE5940F}"/>
              </a:ext>
            </a:extLst>
          </p:cNvPr>
          <p:cNvSpPr/>
          <p:nvPr/>
        </p:nvSpPr>
        <p:spPr>
          <a:xfrm>
            <a:off x="1915205" y="3663252"/>
            <a:ext cx="2207215" cy="828000"/>
          </a:xfrm>
          <a:custGeom>
            <a:avLst/>
            <a:gdLst>
              <a:gd name="connsiteX0" fmla="*/ 700160 w 2207215"/>
              <a:gd name="connsiteY0" fmla="*/ 0 h 828000"/>
              <a:gd name="connsiteX1" fmla="*/ 2207215 w 2207215"/>
              <a:gd name="connsiteY1" fmla="*/ 0 h 828000"/>
              <a:gd name="connsiteX2" fmla="*/ 2207215 w 2207215"/>
              <a:gd name="connsiteY2" fmla="*/ 828000 h 828000"/>
              <a:gd name="connsiteX3" fmla="*/ 0 w 2207215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07215" h="828000">
                <a:moveTo>
                  <a:pt x="700160" y="0"/>
                </a:moveTo>
                <a:lnTo>
                  <a:pt x="2207215" y="0"/>
                </a:lnTo>
                <a:lnTo>
                  <a:pt x="2207215" y="828000"/>
                </a:lnTo>
                <a:lnTo>
                  <a:pt x="0" y="82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4E9F8379-6DDA-498F-A2EC-F84943CE9C21}"/>
              </a:ext>
            </a:extLst>
          </p:cNvPr>
          <p:cNvSpPr/>
          <p:nvPr/>
        </p:nvSpPr>
        <p:spPr>
          <a:xfrm>
            <a:off x="1161744" y="4554284"/>
            <a:ext cx="2960676" cy="828000"/>
          </a:xfrm>
          <a:custGeom>
            <a:avLst/>
            <a:gdLst>
              <a:gd name="connsiteX0" fmla="*/ 700160 w 2960676"/>
              <a:gd name="connsiteY0" fmla="*/ 0 h 828000"/>
              <a:gd name="connsiteX1" fmla="*/ 2960676 w 2960676"/>
              <a:gd name="connsiteY1" fmla="*/ 0 h 828000"/>
              <a:gd name="connsiteX2" fmla="*/ 2960676 w 2960676"/>
              <a:gd name="connsiteY2" fmla="*/ 828000 h 828000"/>
              <a:gd name="connsiteX3" fmla="*/ 0 w 2960676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60676" h="828000">
                <a:moveTo>
                  <a:pt x="700160" y="0"/>
                </a:moveTo>
                <a:lnTo>
                  <a:pt x="2960676" y="0"/>
                </a:lnTo>
                <a:lnTo>
                  <a:pt x="2960676" y="828000"/>
                </a:lnTo>
                <a:lnTo>
                  <a:pt x="0" y="82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2" name="Freihandform: Form 41">
            <a:extLst>
              <a:ext uri="{FF2B5EF4-FFF2-40B4-BE49-F238E27FC236}">
                <a16:creationId xmlns:a16="http://schemas.microsoft.com/office/drawing/2014/main" id="{FB0C9797-1BBE-4B3C-9416-056A3FDEAFB2}"/>
              </a:ext>
            </a:extLst>
          </p:cNvPr>
          <p:cNvSpPr/>
          <p:nvPr/>
        </p:nvSpPr>
        <p:spPr>
          <a:xfrm>
            <a:off x="408284" y="5445316"/>
            <a:ext cx="3714136" cy="828000"/>
          </a:xfrm>
          <a:custGeom>
            <a:avLst/>
            <a:gdLst>
              <a:gd name="connsiteX0" fmla="*/ 700160 w 3714136"/>
              <a:gd name="connsiteY0" fmla="*/ 0 h 828000"/>
              <a:gd name="connsiteX1" fmla="*/ 3714136 w 3714136"/>
              <a:gd name="connsiteY1" fmla="*/ 0 h 828000"/>
              <a:gd name="connsiteX2" fmla="*/ 3714136 w 3714136"/>
              <a:gd name="connsiteY2" fmla="*/ 828000 h 828000"/>
              <a:gd name="connsiteX3" fmla="*/ 0 w 3714136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14136" h="828000">
                <a:moveTo>
                  <a:pt x="700160" y="0"/>
                </a:moveTo>
                <a:lnTo>
                  <a:pt x="3714136" y="0"/>
                </a:lnTo>
                <a:lnTo>
                  <a:pt x="3714136" y="828000"/>
                </a:lnTo>
                <a:lnTo>
                  <a:pt x="0" y="82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48FB445A-F706-4C62-B773-799774086AC3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2AD32C8-8D87-4FEE-A386-D448BFF301BF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8AC49F2-96E3-4612-AAFA-EA1BA3E43243}"/>
              </a:ext>
            </a:extLst>
          </p:cNvPr>
          <p:cNvGrpSpPr/>
          <p:nvPr/>
        </p:nvGrpSpPr>
        <p:grpSpPr>
          <a:xfrm>
            <a:off x="4187192" y="2740704"/>
            <a:ext cx="324632" cy="2673096"/>
            <a:chOff x="4187192" y="2740704"/>
            <a:chExt cx="3636000" cy="2673096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240482C0-E4B2-4098-AD15-97DCCB18DF37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92" y="2740704"/>
              <a:ext cx="3636000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778A81A7-8642-4211-9FF2-BB27E8F6CA02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92" y="3631736"/>
              <a:ext cx="3636000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64EC4B6A-6AB6-42D9-8F62-93824A81FD7E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92" y="4522768"/>
              <a:ext cx="3636000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EE19B93-C318-44B4-8199-0D3FBD3BC818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92" y="5413800"/>
              <a:ext cx="3636000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B90A813-FE95-4488-855F-D99F2342D2DB}"/>
              </a:ext>
            </a:extLst>
          </p:cNvPr>
          <p:cNvSpPr txBox="1">
            <a:spLocks/>
          </p:cNvSpPr>
          <p:nvPr/>
        </p:nvSpPr>
        <p:spPr>
          <a:xfrm>
            <a:off x="4367213" y="1902733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6B940EF-939D-4826-A325-F3462188D952}"/>
              </a:ext>
            </a:extLst>
          </p:cNvPr>
          <p:cNvSpPr/>
          <p:nvPr/>
        </p:nvSpPr>
        <p:spPr>
          <a:xfrm>
            <a:off x="3431704" y="1881188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6D27D2DA-C2C3-43A9-83FB-BA417AE9510E}"/>
              </a:ext>
            </a:extLst>
          </p:cNvPr>
          <p:cNvSpPr/>
          <p:nvPr/>
        </p:nvSpPr>
        <p:spPr>
          <a:xfrm>
            <a:off x="3431704" y="2772220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B1C1F7C9-D8BB-497F-9A4A-FB06916B22E2}"/>
              </a:ext>
            </a:extLst>
          </p:cNvPr>
          <p:cNvSpPr/>
          <p:nvPr/>
        </p:nvSpPr>
        <p:spPr>
          <a:xfrm>
            <a:off x="3431704" y="3663252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A50CF08C-C5A3-4588-B185-FFCB7F6B6100}"/>
              </a:ext>
            </a:extLst>
          </p:cNvPr>
          <p:cNvSpPr/>
          <p:nvPr/>
        </p:nvSpPr>
        <p:spPr>
          <a:xfrm>
            <a:off x="3431704" y="4554284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F32EEC68-B967-4B85-AA3F-368D3E55E555}"/>
              </a:ext>
            </a:extLst>
          </p:cNvPr>
          <p:cNvSpPr/>
          <p:nvPr/>
        </p:nvSpPr>
        <p:spPr>
          <a:xfrm>
            <a:off x="3431704" y="5445316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B995501B-1456-4D1D-9D20-656457B9332B}"/>
              </a:ext>
            </a:extLst>
          </p:cNvPr>
          <p:cNvSpPr txBox="1">
            <a:spLocks/>
          </p:cNvSpPr>
          <p:nvPr/>
        </p:nvSpPr>
        <p:spPr>
          <a:xfrm>
            <a:off x="4367808" y="2762249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66D91981-4E48-490F-AD64-EF3C6D3712EF}"/>
              </a:ext>
            </a:extLst>
          </p:cNvPr>
          <p:cNvSpPr txBox="1">
            <a:spLocks/>
          </p:cNvSpPr>
          <p:nvPr/>
        </p:nvSpPr>
        <p:spPr>
          <a:xfrm>
            <a:off x="4368403" y="3653281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57E08324-74FE-45EE-810A-5CA51CE31103}"/>
              </a:ext>
            </a:extLst>
          </p:cNvPr>
          <p:cNvSpPr txBox="1">
            <a:spLocks/>
          </p:cNvSpPr>
          <p:nvPr/>
        </p:nvSpPr>
        <p:spPr>
          <a:xfrm>
            <a:off x="4368998" y="4544313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461353A7-35F3-46B7-BE7B-7CFEFBDEBD4E}"/>
              </a:ext>
            </a:extLst>
          </p:cNvPr>
          <p:cNvSpPr txBox="1">
            <a:spLocks/>
          </p:cNvSpPr>
          <p:nvPr/>
        </p:nvSpPr>
        <p:spPr>
          <a:xfrm>
            <a:off x="4369593" y="5435345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170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DE623BE2-80A1-47B3-851B-1AFA74A75E30}"/>
              </a:ext>
            </a:extLst>
          </p:cNvPr>
          <p:cNvSpPr txBox="1">
            <a:spLocks/>
          </p:cNvSpPr>
          <p:nvPr/>
        </p:nvSpPr>
        <p:spPr>
          <a:xfrm>
            <a:off x="407368" y="1881188"/>
            <a:ext cx="7416800" cy="965503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EA0DA9-EB1E-4D41-9145-8722E775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A74E77-1D93-4919-849D-29135799F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3BFB9E-0877-4AF5-97F5-2E1AD1E48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9</a:t>
            </a:fld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11DA261-807A-4589-BC77-0A7CF43D1CD2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550B8B4C-3EFA-472D-85FC-F789C41FAAE6}"/>
              </a:ext>
            </a:extLst>
          </p:cNvPr>
          <p:cNvSpPr txBox="1">
            <a:spLocks/>
          </p:cNvSpPr>
          <p:nvPr/>
        </p:nvSpPr>
        <p:spPr>
          <a:xfrm>
            <a:off x="970130" y="2997216"/>
            <a:ext cx="1872000" cy="2376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5C2D1EB9-A406-4407-925F-E7EB771D19E6}"/>
              </a:ext>
            </a:extLst>
          </p:cNvPr>
          <p:cNvSpPr txBox="1">
            <a:spLocks/>
          </p:cNvSpPr>
          <p:nvPr/>
        </p:nvSpPr>
        <p:spPr>
          <a:xfrm>
            <a:off x="3209030" y="2997216"/>
            <a:ext cx="1872000" cy="2376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F49BED7B-2DBE-4EB7-B5FD-F562289C5532}"/>
              </a:ext>
            </a:extLst>
          </p:cNvPr>
          <p:cNvSpPr txBox="1">
            <a:spLocks/>
          </p:cNvSpPr>
          <p:nvPr/>
        </p:nvSpPr>
        <p:spPr>
          <a:xfrm>
            <a:off x="5447928" y="2997216"/>
            <a:ext cx="1872000" cy="2376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FF8B56DA-7BD7-4A5D-BFEC-EBA10D5DCB5C}"/>
              </a:ext>
            </a:extLst>
          </p:cNvPr>
          <p:cNvCxnSpPr>
            <a:cxnSpLocks/>
          </p:cNvCxnSpPr>
          <p:nvPr/>
        </p:nvCxnSpPr>
        <p:spPr>
          <a:xfrm>
            <a:off x="52644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10700750-1B3D-4930-A9F7-C3894486F6A9}"/>
              </a:ext>
            </a:extLst>
          </p:cNvPr>
          <p:cNvSpPr txBox="1">
            <a:spLocks/>
          </p:cNvSpPr>
          <p:nvPr/>
        </p:nvSpPr>
        <p:spPr>
          <a:xfrm>
            <a:off x="442912" y="5523961"/>
            <a:ext cx="7344000" cy="713327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FC9CE17-B4BC-4C71-8705-D253D96B46E0}"/>
              </a:ext>
            </a:extLst>
          </p:cNvPr>
          <p:cNvCxnSpPr>
            <a:cxnSpLocks/>
          </p:cNvCxnSpPr>
          <p:nvPr/>
        </p:nvCxnSpPr>
        <p:spPr>
          <a:xfrm>
            <a:off x="30255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3A1A9496-7ED7-411D-A61C-09ADA018E3B8}"/>
              </a:ext>
            </a:extLst>
          </p:cNvPr>
          <p:cNvCxnSpPr>
            <a:cxnSpLocks/>
          </p:cNvCxnSpPr>
          <p:nvPr/>
        </p:nvCxnSpPr>
        <p:spPr>
          <a:xfrm>
            <a:off x="7866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6FDC6E74-ACF4-4B4C-808B-9A2B9F1CC19F}"/>
              </a:ext>
            </a:extLst>
          </p:cNvPr>
          <p:cNvCxnSpPr>
            <a:cxnSpLocks/>
          </p:cNvCxnSpPr>
          <p:nvPr/>
        </p:nvCxnSpPr>
        <p:spPr>
          <a:xfrm>
            <a:off x="7446792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88AF6B80-63A6-4099-86E3-11955FDF6A96}"/>
              </a:ext>
            </a:extLst>
          </p:cNvPr>
          <p:cNvSpPr/>
          <p:nvPr/>
        </p:nvSpPr>
        <p:spPr>
          <a:xfrm>
            <a:off x="403859" y="1882140"/>
            <a:ext cx="7410643" cy="967740"/>
          </a:xfrm>
          <a:custGeom>
            <a:avLst/>
            <a:gdLst>
              <a:gd name="connsiteX0" fmla="*/ 0 w 1935480"/>
              <a:gd name="connsiteY0" fmla="*/ 967740 h 967740"/>
              <a:gd name="connsiteX1" fmla="*/ 967740 w 1935480"/>
              <a:gd name="connsiteY1" fmla="*/ 0 h 967740"/>
              <a:gd name="connsiteX2" fmla="*/ 1935480 w 1935480"/>
              <a:gd name="connsiteY2" fmla="*/ 967740 h 967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35480" h="967740">
                <a:moveTo>
                  <a:pt x="0" y="967740"/>
                </a:moveTo>
                <a:lnTo>
                  <a:pt x="967740" y="0"/>
                </a:lnTo>
                <a:lnTo>
                  <a:pt x="1935480" y="967740"/>
                </a:lnTo>
              </a:path>
            </a:pathLst>
          </a:custGeom>
          <a:noFill/>
          <a:ln w="38100" cap="rnd">
            <a:solidFill>
              <a:schemeClr val="accent1"/>
            </a:solidFill>
            <a:rou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79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679EB251-C955-48D2-B4E4-C0C4A5B09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D4389B7-E72C-41B8-B7DA-A5DBF7262F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/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9E9A708-02D0-4835-9FEE-A61E06FD2B5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/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endParaRPr lang="de-DE" dirty="0"/>
          </a:p>
          <a:p>
            <a:pPr>
              <a:buAutoNum type="arabicPeriod" startAt="8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1947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36AE2975-CA50-4460-8753-096C0920A9D0}"/>
              </a:ext>
            </a:extLst>
          </p:cNvPr>
          <p:cNvSpPr txBox="1">
            <a:spLocks/>
          </p:cNvSpPr>
          <p:nvPr/>
        </p:nvSpPr>
        <p:spPr>
          <a:xfrm>
            <a:off x="407368" y="1881188"/>
            <a:ext cx="7416800" cy="965503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C938A882-9D89-4843-B962-B91A9F171629}"/>
              </a:ext>
            </a:extLst>
          </p:cNvPr>
          <p:cNvSpPr/>
          <p:nvPr/>
        </p:nvSpPr>
        <p:spPr>
          <a:xfrm>
            <a:off x="403859" y="1882140"/>
            <a:ext cx="7410643" cy="967740"/>
          </a:xfrm>
          <a:custGeom>
            <a:avLst/>
            <a:gdLst>
              <a:gd name="connsiteX0" fmla="*/ 0 w 1935480"/>
              <a:gd name="connsiteY0" fmla="*/ 967740 h 967740"/>
              <a:gd name="connsiteX1" fmla="*/ 967740 w 1935480"/>
              <a:gd name="connsiteY1" fmla="*/ 0 h 967740"/>
              <a:gd name="connsiteX2" fmla="*/ 1935480 w 1935480"/>
              <a:gd name="connsiteY2" fmla="*/ 967740 h 967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35480" h="967740">
                <a:moveTo>
                  <a:pt x="0" y="967740"/>
                </a:moveTo>
                <a:lnTo>
                  <a:pt x="967740" y="0"/>
                </a:lnTo>
                <a:lnTo>
                  <a:pt x="1935480" y="967740"/>
                </a:lnTo>
              </a:path>
            </a:pathLst>
          </a:custGeom>
          <a:noFill/>
          <a:ln w="38100" cap="rnd">
            <a:solidFill>
              <a:schemeClr val="accent1"/>
            </a:solidFill>
            <a:rou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EA0DA9-EB1E-4D41-9145-8722E775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A74E77-1D93-4919-849D-29135799F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3BFB9E-0877-4AF5-97F5-2E1AD1E48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0</a:t>
            </a:fld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11DA261-807A-4589-BC77-0A7CF43D1CD2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550B8B4C-3EFA-472D-85FC-F789C41FAAE6}"/>
              </a:ext>
            </a:extLst>
          </p:cNvPr>
          <p:cNvSpPr txBox="1">
            <a:spLocks/>
          </p:cNvSpPr>
          <p:nvPr/>
        </p:nvSpPr>
        <p:spPr>
          <a:xfrm>
            <a:off x="970130" y="3789304"/>
            <a:ext cx="1872000" cy="1511904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5C2D1EB9-A406-4407-925F-E7EB771D19E6}"/>
              </a:ext>
            </a:extLst>
          </p:cNvPr>
          <p:cNvSpPr txBox="1">
            <a:spLocks/>
          </p:cNvSpPr>
          <p:nvPr/>
        </p:nvSpPr>
        <p:spPr>
          <a:xfrm>
            <a:off x="3209030" y="3789304"/>
            <a:ext cx="1872000" cy="1511904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F49BED7B-2DBE-4EB7-B5FD-F562289C5532}"/>
              </a:ext>
            </a:extLst>
          </p:cNvPr>
          <p:cNvSpPr txBox="1">
            <a:spLocks/>
          </p:cNvSpPr>
          <p:nvPr/>
        </p:nvSpPr>
        <p:spPr>
          <a:xfrm>
            <a:off x="5447928" y="3789304"/>
            <a:ext cx="1872000" cy="1511904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FF8B56DA-7BD7-4A5D-BFEC-EBA10D5DCB5C}"/>
              </a:ext>
            </a:extLst>
          </p:cNvPr>
          <p:cNvCxnSpPr>
            <a:cxnSpLocks/>
          </p:cNvCxnSpPr>
          <p:nvPr/>
        </p:nvCxnSpPr>
        <p:spPr>
          <a:xfrm>
            <a:off x="52644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FC9CE17-B4BC-4C71-8705-D253D96B46E0}"/>
              </a:ext>
            </a:extLst>
          </p:cNvPr>
          <p:cNvCxnSpPr>
            <a:cxnSpLocks/>
          </p:cNvCxnSpPr>
          <p:nvPr/>
        </p:nvCxnSpPr>
        <p:spPr>
          <a:xfrm>
            <a:off x="30255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3A1A9496-7ED7-411D-A61C-09ADA018E3B8}"/>
              </a:ext>
            </a:extLst>
          </p:cNvPr>
          <p:cNvCxnSpPr>
            <a:cxnSpLocks/>
          </p:cNvCxnSpPr>
          <p:nvPr/>
        </p:nvCxnSpPr>
        <p:spPr>
          <a:xfrm>
            <a:off x="7866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6FDC6E74-ACF4-4B4C-808B-9A2B9F1CC19F}"/>
              </a:ext>
            </a:extLst>
          </p:cNvPr>
          <p:cNvCxnSpPr>
            <a:cxnSpLocks/>
          </p:cNvCxnSpPr>
          <p:nvPr/>
        </p:nvCxnSpPr>
        <p:spPr>
          <a:xfrm>
            <a:off x="7446792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6F19CD84-24C4-43E9-B408-9A22E483F90C}"/>
              </a:ext>
            </a:extLst>
          </p:cNvPr>
          <p:cNvCxnSpPr/>
          <p:nvPr/>
        </p:nvCxnSpPr>
        <p:spPr>
          <a:xfrm>
            <a:off x="407988" y="5517232"/>
            <a:ext cx="7416800" cy="0"/>
          </a:xfrm>
          <a:prstGeom prst="line">
            <a:avLst/>
          </a:prstGeom>
          <a:solidFill>
            <a:srgbClr val="F0F0F0"/>
          </a:solidFill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B7965A07-DF97-4E2C-8F05-0F2BAA081B79}"/>
              </a:ext>
            </a:extLst>
          </p:cNvPr>
          <p:cNvSpPr txBox="1">
            <a:spLocks/>
          </p:cNvSpPr>
          <p:nvPr/>
        </p:nvSpPr>
        <p:spPr>
          <a:xfrm>
            <a:off x="407988" y="5523961"/>
            <a:ext cx="7416800" cy="749839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C4C6BA39-485C-4775-86D1-C41178792B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47928" y="2924944"/>
            <a:ext cx="698238" cy="69823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D584251-0525-06BF-7BB1-083C234CDF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2000" y="2926800"/>
            <a:ext cx="698400" cy="6984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EAB76AFB-D92B-26FE-AB32-11EDAC3221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07600" y="29268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361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E725CC7-0E7F-4A3B-9CB3-CC3F0C1A1410}"/>
              </a:ext>
            </a:extLst>
          </p:cNvPr>
          <p:cNvSpPr txBox="1">
            <a:spLocks/>
          </p:cNvSpPr>
          <p:nvPr/>
        </p:nvSpPr>
        <p:spPr>
          <a:xfrm>
            <a:off x="407368" y="1881188"/>
            <a:ext cx="7416800" cy="965503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7D00D33A-E4BD-415A-A7DA-59354B438C39}"/>
              </a:ext>
            </a:extLst>
          </p:cNvPr>
          <p:cNvSpPr/>
          <p:nvPr/>
        </p:nvSpPr>
        <p:spPr>
          <a:xfrm>
            <a:off x="407367" y="1882140"/>
            <a:ext cx="7488822" cy="4391661"/>
          </a:xfrm>
          <a:custGeom>
            <a:avLst/>
            <a:gdLst>
              <a:gd name="connsiteX0" fmla="*/ 4788720 w 7488822"/>
              <a:gd name="connsiteY0" fmla="*/ 964552 h 4391661"/>
              <a:gd name="connsiteX1" fmla="*/ 4788720 w 7488822"/>
              <a:gd name="connsiteY1" fmla="*/ 3628365 h 4391661"/>
              <a:gd name="connsiteX2" fmla="*/ 5077100 w 7488822"/>
              <a:gd name="connsiteY2" fmla="*/ 3628365 h 4391661"/>
              <a:gd name="connsiteX3" fmla="*/ 5077100 w 7488822"/>
              <a:gd name="connsiteY3" fmla="*/ 964552 h 4391661"/>
              <a:gd name="connsiteX4" fmla="*/ 2412340 w 7488822"/>
              <a:gd name="connsiteY4" fmla="*/ 964552 h 4391661"/>
              <a:gd name="connsiteX5" fmla="*/ 2412340 w 7488822"/>
              <a:gd name="connsiteY5" fmla="*/ 3628365 h 4391661"/>
              <a:gd name="connsiteX6" fmla="*/ 2700720 w 7488822"/>
              <a:gd name="connsiteY6" fmla="*/ 3628365 h 4391661"/>
              <a:gd name="connsiteX7" fmla="*/ 2700720 w 7488822"/>
              <a:gd name="connsiteY7" fmla="*/ 964552 h 4391661"/>
              <a:gd name="connsiteX8" fmla="*/ 3744721 w 7488822"/>
              <a:gd name="connsiteY8" fmla="*/ 0 h 4391661"/>
              <a:gd name="connsiteX9" fmla="*/ 7488822 w 7488822"/>
              <a:gd name="connsiteY9" fmla="*/ 964552 h 4391661"/>
              <a:gd name="connsiteX10" fmla="*/ 7165100 w 7488822"/>
              <a:gd name="connsiteY10" fmla="*/ 964552 h 4391661"/>
              <a:gd name="connsiteX11" fmla="*/ 7165100 w 7488822"/>
              <a:gd name="connsiteY11" fmla="*/ 3628365 h 4391661"/>
              <a:gd name="connsiteX12" fmla="*/ 7382316 w 7488822"/>
              <a:gd name="connsiteY12" fmla="*/ 3628365 h 4391661"/>
              <a:gd name="connsiteX13" fmla="*/ 7417420 w 7488822"/>
              <a:gd name="connsiteY13" fmla="*/ 3663469 h 4391661"/>
              <a:gd name="connsiteX14" fmla="*/ 7417420 w 7488822"/>
              <a:gd name="connsiteY14" fmla="*/ 4356557 h 4391661"/>
              <a:gd name="connsiteX15" fmla="*/ 7382316 w 7488822"/>
              <a:gd name="connsiteY15" fmla="*/ 4391661 h 4391661"/>
              <a:gd name="connsiteX16" fmla="*/ 35104 w 7488822"/>
              <a:gd name="connsiteY16" fmla="*/ 4391661 h 4391661"/>
              <a:gd name="connsiteX17" fmla="*/ 0 w 7488822"/>
              <a:gd name="connsiteY17" fmla="*/ 4356557 h 4391661"/>
              <a:gd name="connsiteX18" fmla="*/ 0 w 7488822"/>
              <a:gd name="connsiteY18" fmla="*/ 3663469 h 4391661"/>
              <a:gd name="connsiteX19" fmla="*/ 35104 w 7488822"/>
              <a:gd name="connsiteY19" fmla="*/ 3628365 h 4391661"/>
              <a:gd name="connsiteX20" fmla="*/ 324340 w 7488822"/>
              <a:gd name="connsiteY20" fmla="*/ 3628365 h 4391661"/>
              <a:gd name="connsiteX21" fmla="*/ 324340 w 7488822"/>
              <a:gd name="connsiteY21" fmla="*/ 964552 h 4391661"/>
              <a:gd name="connsiteX22" fmla="*/ 619 w 7488822"/>
              <a:gd name="connsiteY22" fmla="*/ 964552 h 4391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488822" h="4391661">
                <a:moveTo>
                  <a:pt x="4788720" y="964552"/>
                </a:moveTo>
                <a:lnTo>
                  <a:pt x="4788720" y="3628365"/>
                </a:lnTo>
                <a:lnTo>
                  <a:pt x="5077100" y="3628365"/>
                </a:lnTo>
                <a:lnTo>
                  <a:pt x="5077100" y="964552"/>
                </a:lnTo>
                <a:close/>
                <a:moveTo>
                  <a:pt x="2412340" y="964552"/>
                </a:moveTo>
                <a:lnTo>
                  <a:pt x="2412340" y="3628365"/>
                </a:lnTo>
                <a:lnTo>
                  <a:pt x="2700720" y="3628365"/>
                </a:lnTo>
                <a:lnTo>
                  <a:pt x="2700720" y="964552"/>
                </a:lnTo>
                <a:close/>
                <a:moveTo>
                  <a:pt x="3744721" y="0"/>
                </a:moveTo>
                <a:lnTo>
                  <a:pt x="7488822" y="964552"/>
                </a:lnTo>
                <a:lnTo>
                  <a:pt x="7165100" y="964552"/>
                </a:lnTo>
                <a:lnTo>
                  <a:pt x="7165100" y="3628365"/>
                </a:lnTo>
                <a:lnTo>
                  <a:pt x="7382316" y="3628365"/>
                </a:lnTo>
                <a:cubicBezTo>
                  <a:pt x="7401703" y="3628365"/>
                  <a:pt x="7417420" y="3644082"/>
                  <a:pt x="7417420" y="3663469"/>
                </a:cubicBezTo>
                <a:lnTo>
                  <a:pt x="7417420" y="4356557"/>
                </a:lnTo>
                <a:cubicBezTo>
                  <a:pt x="7417420" y="4375944"/>
                  <a:pt x="7401703" y="4391661"/>
                  <a:pt x="7382316" y="4391661"/>
                </a:cubicBezTo>
                <a:lnTo>
                  <a:pt x="35104" y="4391661"/>
                </a:lnTo>
                <a:cubicBezTo>
                  <a:pt x="15717" y="4391661"/>
                  <a:pt x="0" y="4375944"/>
                  <a:pt x="0" y="4356557"/>
                </a:cubicBezTo>
                <a:lnTo>
                  <a:pt x="0" y="3663469"/>
                </a:lnTo>
                <a:cubicBezTo>
                  <a:pt x="0" y="3644082"/>
                  <a:pt x="15717" y="3628365"/>
                  <a:pt x="35104" y="3628365"/>
                </a:cubicBezTo>
                <a:lnTo>
                  <a:pt x="324340" y="3628365"/>
                </a:lnTo>
                <a:lnTo>
                  <a:pt x="324340" y="964552"/>
                </a:lnTo>
                <a:lnTo>
                  <a:pt x="619" y="964552"/>
                </a:lnTo>
                <a:close/>
              </a:path>
            </a:pathLst>
          </a:cu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EA0DA9-EB1E-4D41-9145-8722E775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A74E77-1D93-4919-849D-29135799F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3BFB9E-0877-4AF5-97F5-2E1AD1E48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1</a:t>
            </a:fld>
            <a:endParaRPr lang="de-DE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10700750-1B3D-4930-A9F7-C3894486F6A9}"/>
              </a:ext>
            </a:extLst>
          </p:cNvPr>
          <p:cNvSpPr txBox="1">
            <a:spLocks/>
          </p:cNvSpPr>
          <p:nvPr/>
        </p:nvSpPr>
        <p:spPr>
          <a:xfrm>
            <a:off x="407988" y="5512469"/>
            <a:ext cx="7416800" cy="761331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/>
              <a:t>Text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6FDC6E74-ACF4-4B4C-808B-9A2B9F1CC19F}"/>
              </a:ext>
            </a:extLst>
          </p:cNvPr>
          <p:cNvCxnSpPr>
            <a:cxnSpLocks/>
          </p:cNvCxnSpPr>
          <p:nvPr/>
        </p:nvCxnSpPr>
        <p:spPr>
          <a:xfrm>
            <a:off x="839416" y="2846691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273E3764-4A73-44BF-8499-EC8D6BB5DB51}"/>
              </a:ext>
            </a:extLst>
          </p:cNvPr>
          <p:cNvCxnSpPr>
            <a:cxnSpLocks/>
          </p:cNvCxnSpPr>
          <p:nvPr/>
        </p:nvCxnSpPr>
        <p:spPr>
          <a:xfrm>
            <a:off x="3215680" y="2846691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F882BB75-CA69-4394-8F3C-05D81AE77FC7}"/>
              </a:ext>
            </a:extLst>
          </p:cNvPr>
          <p:cNvCxnSpPr>
            <a:cxnSpLocks/>
          </p:cNvCxnSpPr>
          <p:nvPr/>
        </p:nvCxnSpPr>
        <p:spPr>
          <a:xfrm>
            <a:off x="5591944" y="2846691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FDF5111-927A-4F9C-AC77-305EEE938247}"/>
              </a:ext>
            </a:extLst>
          </p:cNvPr>
          <p:cNvSpPr txBox="1">
            <a:spLocks/>
          </p:cNvSpPr>
          <p:nvPr/>
        </p:nvSpPr>
        <p:spPr>
          <a:xfrm>
            <a:off x="839416" y="3933252"/>
            <a:ext cx="1872000" cy="158398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975E594-2868-49AC-A054-2D42CC40DC67}"/>
              </a:ext>
            </a:extLst>
          </p:cNvPr>
          <p:cNvSpPr txBox="1">
            <a:spLocks/>
          </p:cNvSpPr>
          <p:nvPr/>
        </p:nvSpPr>
        <p:spPr>
          <a:xfrm>
            <a:off x="3215680" y="3933252"/>
            <a:ext cx="1872000" cy="158398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EBE0E8DA-FEF6-41EE-82FB-7253D74C2157}"/>
              </a:ext>
            </a:extLst>
          </p:cNvPr>
          <p:cNvSpPr txBox="1">
            <a:spLocks/>
          </p:cNvSpPr>
          <p:nvPr/>
        </p:nvSpPr>
        <p:spPr>
          <a:xfrm>
            <a:off x="5591944" y="3933252"/>
            <a:ext cx="1872000" cy="158398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EE9364C1-C0D3-42C4-8FBA-B2E5D91D31AB}"/>
              </a:ext>
            </a:extLst>
          </p:cNvPr>
          <p:cNvCxnSpPr>
            <a:cxnSpLocks/>
          </p:cNvCxnSpPr>
          <p:nvPr/>
        </p:nvCxnSpPr>
        <p:spPr>
          <a:xfrm>
            <a:off x="839416" y="5512470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EDAF91AD-3862-4A79-A979-AD01BABABB66}"/>
              </a:ext>
            </a:extLst>
          </p:cNvPr>
          <p:cNvCxnSpPr>
            <a:cxnSpLocks/>
          </p:cNvCxnSpPr>
          <p:nvPr/>
        </p:nvCxnSpPr>
        <p:spPr>
          <a:xfrm>
            <a:off x="3215680" y="5512470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D9F22BDB-274E-4024-A25D-11E6E257D582}"/>
              </a:ext>
            </a:extLst>
          </p:cNvPr>
          <p:cNvCxnSpPr>
            <a:cxnSpLocks/>
          </p:cNvCxnSpPr>
          <p:nvPr/>
        </p:nvCxnSpPr>
        <p:spPr>
          <a:xfrm>
            <a:off x="5591944" y="5512470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3299A2C4-26ED-4FC3-90E1-2C67D2EEF93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3E354010-F058-4002-A83D-1A8A29357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91944" y="3126806"/>
            <a:ext cx="698238" cy="698238"/>
          </a:xfrm>
          <a:prstGeom prst="rect">
            <a:avLst/>
          </a:prstGeom>
        </p:spPr>
      </p:pic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FA58CAAA-06B0-4180-8995-61909FA4C856}"/>
              </a:ext>
            </a:extLst>
          </p:cNvPr>
          <p:cNvSpPr txBox="1">
            <a:spLocks/>
          </p:cNvSpPr>
          <p:nvPr/>
        </p:nvSpPr>
        <p:spPr>
          <a:xfrm>
            <a:off x="585652" y="5661249"/>
            <a:ext cx="7058520" cy="46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7B7D299-6F3B-657D-5B95-397F90FDA4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8800" y="3128400"/>
            <a:ext cx="698400" cy="698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85675E2-DA72-2A8C-B0F1-40D7BC21EF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14800" y="31284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539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F651A8-EDAA-4803-A9A5-02F42E489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ruck von vier S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6699D69-306A-4BC5-A22D-106DE18E6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E05C25A-1795-4B6B-8898-9E2E68BEA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2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A567F0-29EF-4FEC-BD6A-BFBDE3A47ADD}"/>
              </a:ext>
            </a:extLst>
          </p:cNvPr>
          <p:cNvSpPr/>
          <p:nvPr/>
        </p:nvSpPr>
        <p:spPr>
          <a:xfrm>
            <a:off x="4262174" y="3393072"/>
            <a:ext cx="3672000" cy="136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98F1AEF2-159A-4E1B-9918-CAEBD8E8F3D9}"/>
              </a:ext>
            </a:extLst>
          </p:cNvPr>
          <p:cNvSpPr txBox="1">
            <a:spLocks/>
          </p:cNvSpPr>
          <p:nvPr/>
        </p:nvSpPr>
        <p:spPr>
          <a:xfrm>
            <a:off x="6096001" y="1844675"/>
            <a:ext cx="5688012" cy="1080000"/>
          </a:xfrm>
          <a:prstGeom prst="rect">
            <a:avLst/>
          </a:prstGeom>
        </p:spPr>
        <p:txBody>
          <a:bodyPr vert="horz" lIns="108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marL="0" lvl="2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</a:t>
            </a:r>
            <a:r>
              <a:rPr lang="en-US" dirty="0"/>
              <a:t> </a:t>
            </a:r>
            <a:r>
              <a:rPr lang="en-US" dirty="0" err="1"/>
              <a:t>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br>
              <a:rPr lang="en-US" dirty="0"/>
            </a:br>
            <a:r>
              <a:rPr lang="en-US" dirty="0" err="1"/>
              <a:t>elit</a:t>
            </a:r>
            <a:r>
              <a:rPr lang="en-US" dirty="0"/>
              <a:t>. Aenean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1E302A2-52D8-448C-9BCE-24873DFB3273}"/>
              </a:ext>
            </a:extLst>
          </p:cNvPr>
          <p:cNvSpPr txBox="1">
            <a:spLocks/>
          </p:cNvSpPr>
          <p:nvPr/>
        </p:nvSpPr>
        <p:spPr>
          <a:xfrm>
            <a:off x="407368" y="1880344"/>
            <a:ext cx="3294918" cy="2196728"/>
          </a:xfrm>
          <a:prstGeom prst="rect">
            <a:avLst/>
          </a:prstGeom>
        </p:spPr>
        <p:txBody>
          <a:bodyPr vert="horz" lIns="0" tIns="0" rIns="0" bIns="108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marL="0" lvl="2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9C191BB3-F1A5-4BBD-8E94-4E3D6FFB5D44}"/>
              </a:ext>
            </a:extLst>
          </p:cNvPr>
          <p:cNvSpPr txBox="1">
            <a:spLocks/>
          </p:cNvSpPr>
          <p:nvPr/>
        </p:nvSpPr>
        <p:spPr>
          <a:xfrm>
            <a:off x="8760632" y="4077072"/>
            <a:ext cx="3024000" cy="2196728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marL="0" lvl="2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5507CC79-15C5-4219-9A52-10E5A53DC68F}"/>
              </a:ext>
            </a:extLst>
          </p:cNvPr>
          <p:cNvSpPr txBox="1">
            <a:spLocks/>
          </p:cNvSpPr>
          <p:nvPr/>
        </p:nvSpPr>
        <p:spPr>
          <a:xfrm>
            <a:off x="407989" y="5193316"/>
            <a:ext cx="5688012" cy="1080000"/>
          </a:xfrm>
          <a:prstGeom prst="rect">
            <a:avLst/>
          </a:prstGeom>
        </p:spPr>
        <p:txBody>
          <a:bodyPr vert="horz" lIns="0" tIns="0" rIns="1080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marL="0" lvl="2" indent="0" algn="r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</a:t>
            </a:r>
            <a:r>
              <a:rPr lang="en-US" dirty="0"/>
              <a:t> </a:t>
            </a:r>
            <a:r>
              <a:rPr lang="en-US" dirty="0" err="1"/>
              <a:t>etuer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Aenean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C087549-AE02-45E4-9EF5-2EF31BD08868}"/>
              </a:ext>
            </a:extLst>
          </p:cNvPr>
          <p:cNvCxnSpPr>
            <a:cxnSpLocks/>
          </p:cNvCxnSpPr>
          <p:nvPr/>
        </p:nvCxnSpPr>
        <p:spPr>
          <a:xfrm flipH="1">
            <a:off x="8472264" y="4077072"/>
            <a:ext cx="3312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3BF6431B-1233-4ACA-A034-C8070027455A}"/>
              </a:ext>
            </a:extLst>
          </p:cNvPr>
          <p:cNvCxnSpPr>
            <a:cxnSpLocks/>
          </p:cNvCxnSpPr>
          <p:nvPr/>
        </p:nvCxnSpPr>
        <p:spPr>
          <a:xfrm>
            <a:off x="407988" y="4077072"/>
            <a:ext cx="331174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59BF219-45FA-4ADB-92CC-588842D9CF7E}"/>
              </a:ext>
            </a:extLst>
          </p:cNvPr>
          <p:cNvCxnSpPr>
            <a:cxnSpLocks/>
          </p:cNvCxnSpPr>
          <p:nvPr/>
        </p:nvCxnSpPr>
        <p:spPr>
          <a:xfrm>
            <a:off x="6098174" y="1877475"/>
            <a:ext cx="0" cy="1080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Freeform 5">
            <a:extLst>
              <a:ext uri="{FF2B5EF4-FFF2-40B4-BE49-F238E27FC236}">
                <a16:creationId xmlns:a16="http://schemas.microsoft.com/office/drawing/2014/main" id="{B1A6EBA6-AB46-4A2A-8FC6-6B5266826592}"/>
              </a:ext>
            </a:extLst>
          </p:cNvPr>
          <p:cNvSpPr>
            <a:spLocks/>
          </p:cNvSpPr>
          <p:nvPr/>
        </p:nvSpPr>
        <p:spPr bwMode="auto">
          <a:xfrm rot="5400000">
            <a:off x="5959111" y="292487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7" name="Freeform 5">
            <a:extLst>
              <a:ext uri="{FF2B5EF4-FFF2-40B4-BE49-F238E27FC236}">
                <a16:creationId xmlns:a16="http://schemas.microsoft.com/office/drawing/2014/main" id="{DBC8C1AD-C12B-421A-89F4-FB9189B9EEDB}"/>
              </a:ext>
            </a:extLst>
          </p:cNvPr>
          <p:cNvSpPr>
            <a:spLocks/>
          </p:cNvSpPr>
          <p:nvPr/>
        </p:nvSpPr>
        <p:spPr bwMode="auto">
          <a:xfrm flipH="1">
            <a:off x="8097678" y="388047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8" name="Freeform 5">
            <a:extLst>
              <a:ext uri="{FF2B5EF4-FFF2-40B4-BE49-F238E27FC236}">
                <a16:creationId xmlns:a16="http://schemas.microsoft.com/office/drawing/2014/main" id="{DAB75281-0A16-43C9-BD0D-80EC522F5A54}"/>
              </a:ext>
            </a:extLst>
          </p:cNvPr>
          <p:cNvSpPr>
            <a:spLocks/>
          </p:cNvSpPr>
          <p:nvPr/>
        </p:nvSpPr>
        <p:spPr bwMode="auto">
          <a:xfrm>
            <a:off x="3852195" y="388047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80" name="Freeform 5">
            <a:extLst>
              <a:ext uri="{FF2B5EF4-FFF2-40B4-BE49-F238E27FC236}">
                <a16:creationId xmlns:a16="http://schemas.microsoft.com/office/drawing/2014/main" id="{28B649E5-9C7C-4331-8B4D-51D0964A02B8}"/>
              </a:ext>
            </a:extLst>
          </p:cNvPr>
          <p:cNvSpPr>
            <a:spLocks/>
          </p:cNvSpPr>
          <p:nvPr/>
        </p:nvSpPr>
        <p:spPr bwMode="auto">
          <a:xfrm rot="16200000" flipV="1">
            <a:off x="5959111" y="4820379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08F68D42-3DC1-4386-A91E-693C60079768}"/>
              </a:ext>
            </a:extLst>
          </p:cNvPr>
          <p:cNvCxnSpPr>
            <a:cxnSpLocks/>
          </p:cNvCxnSpPr>
          <p:nvPr/>
        </p:nvCxnSpPr>
        <p:spPr>
          <a:xfrm>
            <a:off x="6096000" y="5193196"/>
            <a:ext cx="0" cy="1080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386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1595C7-6404-4E41-9B94-D4B9D7BF0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entralisier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38DD773-0CBF-4845-8A56-9F60E52A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97B8C07-7B2C-455A-8CD7-FD4A066E6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3</a:t>
            </a:fld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D45584E-24ED-4AF4-B8CB-D58132E8664A}"/>
              </a:ext>
            </a:extLst>
          </p:cNvPr>
          <p:cNvSpPr txBox="1">
            <a:spLocks/>
          </p:cNvSpPr>
          <p:nvPr/>
        </p:nvSpPr>
        <p:spPr>
          <a:xfrm>
            <a:off x="407988" y="1881188"/>
            <a:ext cx="5399980" cy="864000"/>
          </a:xfrm>
          <a:prstGeom prst="rect">
            <a:avLst/>
          </a:prstGeom>
          <a:noFill/>
        </p:spPr>
        <p:txBody>
          <a:bodyPr vert="horz" lIns="360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69EC4863-786F-448C-880F-9AA6314E136E}"/>
              </a:ext>
            </a:extLst>
          </p:cNvPr>
          <p:cNvSpPr txBox="1">
            <a:spLocks/>
          </p:cNvSpPr>
          <p:nvPr/>
        </p:nvSpPr>
        <p:spPr>
          <a:xfrm>
            <a:off x="407988" y="3045197"/>
            <a:ext cx="5399980" cy="864000"/>
          </a:xfrm>
          <a:prstGeom prst="rect">
            <a:avLst/>
          </a:prstGeom>
          <a:noFill/>
        </p:spPr>
        <p:txBody>
          <a:bodyPr vert="horz" lIns="360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B93AEC7F-E016-4028-8125-E9AD593E5096}"/>
              </a:ext>
            </a:extLst>
          </p:cNvPr>
          <p:cNvSpPr txBox="1">
            <a:spLocks/>
          </p:cNvSpPr>
          <p:nvPr/>
        </p:nvSpPr>
        <p:spPr>
          <a:xfrm>
            <a:off x="407988" y="4209206"/>
            <a:ext cx="5399980" cy="864000"/>
          </a:xfrm>
          <a:prstGeom prst="rect">
            <a:avLst/>
          </a:prstGeom>
          <a:noFill/>
        </p:spPr>
        <p:txBody>
          <a:bodyPr vert="horz" lIns="360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A7C5A02D-BA03-4021-9CED-29769B8C1173}"/>
              </a:ext>
            </a:extLst>
          </p:cNvPr>
          <p:cNvSpPr txBox="1">
            <a:spLocks/>
          </p:cNvSpPr>
          <p:nvPr/>
        </p:nvSpPr>
        <p:spPr>
          <a:xfrm>
            <a:off x="407988" y="5373216"/>
            <a:ext cx="5399980" cy="864000"/>
          </a:xfrm>
          <a:prstGeom prst="rect">
            <a:avLst/>
          </a:prstGeom>
          <a:noFill/>
        </p:spPr>
        <p:txBody>
          <a:bodyPr vert="horz" lIns="360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9AF231EA-0FEE-41B2-BA6F-356E497BF629}"/>
              </a:ext>
            </a:extLst>
          </p:cNvPr>
          <p:cNvCxnSpPr>
            <a:cxnSpLocks/>
          </p:cNvCxnSpPr>
          <p:nvPr/>
        </p:nvCxnSpPr>
        <p:spPr>
          <a:xfrm>
            <a:off x="767968" y="2895193"/>
            <a:ext cx="5040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5136324B-CFE3-417C-A850-B0B99843BC40}"/>
              </a:ext>
            </a:extLst>
          </p:cNvPr>
          <p:cNvCxnSpPr>
            <a:cxnSpLocks/>
          </p:cNvCxnSpPr>
          <p:nvPr/>
        </p:nvCxnSpPr>
        <p:spPr>
          <a:xfrm>
            <a:off x="767968" y="4059203"/>
            <a:ext cx="5040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B88C9E5-492A-474A-A3E6-7B9774BC7138}"/>
              </a:ext>
            </a:extLst>
          </p:cNvPr>
          <p:cNvCxnSpPr>
            <a:cxnSpLocks/>
          </p:cNvCxnSpPr>
          <p:nvPr/>
        </p:nvCxnSpPr>
        <p:spPr>
          <a:xfrm>
            <a:off x="767968" y="5223213"/>
            <a:ext cx="5040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7D36802A-8A6E-4A58-B5A2-0CE0AFA25DBB}"/>
              </a:ext>
            </a:extLst>
          </p:cNvPr>
          <p:cNvSpPr txBox="1">
            <a:spLocks/>
          </p:cNvSpPr>
          <p:nvPr/>
        </p:nvSpPr>
        <p:spPr>
          <a:xfrm>
            <a:off x="8220236" y="3716870"/>
            <a:ext cx="3563777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400" dirty="0">
                <a:solidFill>
                  <a:schemeClr val="bg2"/>
                </a:solidFill>
              </a:rPr>
              <a:t>Lorem ipsum </a:t>
            </a:r>
            <a:r>
              <a:rPr lang="da-DK" sz="2400" dirty="0">
                <a:solidFill>
                  <a:schemeClr val="tx1"/>
                </a:solidFill>
              </a:rPr>
              <a:t>dolor sit amet consect etuer.</a:t>
            </a:r>
            <a:endParaRPr lang="de-DE" sz="2400" dirty="0">
              <a:solidFill>
                <a:schemeClr val="tx1"/>
              </a:solidFill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B622CA17-E7A9-4EF1-872A-F3248BA5CFD7}"/>
              </a:ext>
            </a:extLst>
          </p:cNvPr>
          <p:cNvCxnSpPr>
            <a:cxnSpLocks/>
          </p:cNvCxnSpPr>
          <p:nvPr/>
        </p:nvCxnSpPr>
        <p:spPr>
          <a:xfrm>
            <a:off x="443372" y="1881188"/>
            <a:ext cx="0" cy="86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BC3166EC-F6C7-46E0-876A-B4C923561D51}"/>
              </a:ext>
            </a:extLst>
          </p:cNvPr>
          <p:cNvCxnSpPr>
            <a:cxnSpLocks/>
          </p:cNvCxnSpPr>
          <p:nvPr/>
        </p:nvCxnSpPr>
        <p:spPr>
          <a:xfrm>
            <a:off x="443372" y="3045198"/>
            <a:ext cx="0" cy="86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8DFCDA71-30E1-4B27-A15B-6D17C43F707C}"/>
              </a:ext>
            </a:extLst>
          </p:cNvPr>
          <p:cNvCxnSpPr>
            <a:cxnSpLocks/>
          </p:cNvCxnSpPr>
          <p:nvPr/>
        </p:nvCxnSpPr>
        <p:spPr>
          <a:xfrm>
            <a:off x="443372" y="4209208"/>
            <a:ext cx="0" cy="86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2D125D9-C405-471E-9AAE-FFA2205C9AFF}"/>
              </a:ext>
            </a:extLst>
          </p:cNvPr>
          <p:cNvCxnSpPr>
            <a:cxnSpLocks/>
          </p:cNvCxnSpPr>
          <p:nvPr/>
        </p:nvCxnSpPr>
        <p:spPr>
          <a:xfrm>
            <a:off x="443372" y="5373216"/>
            <a:ext cx="0" cy="86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1A0F9FA9-0225-4774-BE65-99D1B7BAA2A0}"/>
              </a:ext>
            </a:extLst>
          </p:cNvPr>
          <p:cNvSpPr/>
          <p:nvPr/>
        </p:nvSpPr>
        <p:spPr>
          <a:xfrm>
            <a:off x="5827312" y="1870876"/>
            <a:ext cx="2879366" cy="1647576"/>
          </a:xfrm>
          <a:custGeom>
            <a:avLst/>
            <a:gdLst>
              <a:gd name="connsiteX0" fmla="*/ 2902226 w 2902226"/>
              <a:gd name="connsiteY0" fmla="*/ 1639956 h 1639956"/>
              <a:gd name="connsiteX1" fmla="*/ 1987826 w 2902226"/>
              <a:gd name="connsiteY1" fmla="*/ 1639956 h 1639956"/>
              <a:gd name="connsiteX2" fmla="*/ 0 w 2902226"/>
              <a:gd name="connsiteY2" fmla="*/ 0 h 1639956"/>
              <a:gd name="connsiteX0" fmla="*/ 2879366 w 2879366"/>
              <a:gd name="connsiteY0" fmla="*/ 1647576 h 1647576"/>
              <a:gd name="connsiteX1" fmla="*/ 1964966 w 2879366"/>
              <a:gd name="connsiteY1" fmla="*/ 1647576 h 1647576"/>
              <a:gd name="connsiteX2" fmla="*/ 0 w 2879366"/>
              <a:gd name="connsiteY2" fmla="*/ 0 h 164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9366" h="1647576">
                <a:moveTo>
                  <a:pt x="2879366" y="1647576"/>
                </a:moveTo>
                <a:lnTo>
                  <a:pt x="1964966" y="1647576"/>
                </a:lnTo>
                <a:cubicBezTo>
                  <a:pt x="1302357" y="1100924"/>
                  <a:pt x="662609" y="546652"/>
                  <a:pt x="0" y="0"/>
                </a:cubicBezTo>
              </a:path>
            </a:pathLst>
          </a:custGeom>
          <a:noFill/>
          <a:ln w="38100" cap="rnd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/>
          <a:p>
            <a:pPr algn="ctr"/>
            <a:endParaRPr lang="de-DE">
              <a:solidFill>
                <a:schemeClr val="tx2"/>
              </a:solidFill>
              <a:latin typeface="+mj-lt"/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BD2E8A10-B419-4780-BB7D-1692CEECFC62}"/>
              </a:ext>
            </a:extLst>
          </p:cNvPr>
          <p:cNvSpPr/>
          <p:nvPr/>
        </p:nvSpPr>
        <p:spPr>
          <a:xfrm flipV="1">
            <a:off x="5827312" y="4625740"/>
            <a:ext cx="2879366" cy="1647576"/>
          </a:xfrm>
          <a:custGeom>
            <a:avLst/>
            <a:gdLst>
              <a:gd name="connsiteX0" fmla="*/ 2902226 w 2902226"/>
              <a:gd name="connsiteY0" fmla="*/ 1639956 h 1639956"/>
              <a:gd name="connsiteX1" fmla="*/ 1987826 w 2902226"/>
              <a:gd name="connsiteY1" fmla="*/ 1639956 h 1639956"/>
              <a:gd name="connsiteX2" fmla="*/ 0 w 2902226"/>
              <a:gd name="connsiteY2" fmla="*/ 0 h 1639956"/>
              <a:gd name="connsiteX0" fmla="*/ 2879366 w 2879366"/>
              <a:gd name="connsiteY0" fmla="*/ 1647576 h 1647576"/>
              <a:gd name="connsiteX1" fmla="*/ 1964966 w 2879366"/>
              <a:gd name="connsiteY1" fmla="*/ 1647576 h 1647576"/>
              <a:gd name="connsiteX2" fmla="*/ 0 w 2879366"/>
              <a:gd name="connsiteY2" fmla="*/ 0 h 164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9366" h="1647576">
                <a:moveTo>
                  <a:pt x="2879366" y="1647576"/>
                </a:moveTo>
                <a:lnTo>
                  <a:pt x="1964966" y="1647576"/>
                </a:lnTo>
                <a:cubicBezTo>
                  <a:pt x="1302357" y="1100924"/>
                  <a:pt x="662609" y="546652"/>
                  <a:pt x="0" y="0"/>
                </a:cubicBezTo>
              </a:path>
            </a:pathLst>
          </a:custGeom>
          <a:noFill/>
          <a:ln w="38100" cap="rnd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/>
          <a:p>
            <a:pPr algn="ctr"/>
            <a:endParaRPr lang="de-DE">
              <a:solidFill>
                <a:schemeClr val="tx2"/>
              </a:solidFill>
              <a:latin typeface="+mj-lt"/>
            </a:endParaRPr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962D1A3F-9B54-425D-8B17-5AEB3751D013}"/>
              </a:ext>
            </a:extLst>
          </p:cNvPr>
          <p:cNvSpPr>
            <a:spLocks/>
          </p:cNvSpPr>
          <p:nvPr/>
        </p:nvSpPr>
        <p:spPr bwMode="auto">
          <a:xfrm>
            <a:off x="7131429" y="3638551"/>
            <a:ext cx="620626" cy="877402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 w="444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265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1595C7-6404-4E41-9B94-D4B9D7BF0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entralisier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38DD773-0CBF-4845-8A56-9F60E52A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97B8C07-7B2C-455A-8CD7-FD4A066E6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4</a:t>
            </a:fld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D45584E-24ED-4AF4-B8CB-D58132E8664A}"/>
              </a:ext>
            </a:extLst>
          </p:cNvPr>
          <p:cNvSpPr txBox="1">
            <a:spLocks/>
          </p:cNvSpPr>
          <p:nvPr/>
        </p:nvSpPr>
        <p:spPr>
          <a:xfrm>
            <a:off x="1343472" y="1881188"/>
            <a:ext cx="4464496" cy="8640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69EC4863-786F-448C-880F-9AA6314E136E}"/>
              </a:ext>
            </a:extLst>
          </p:cNvPr>
          <p:cNvSpPr txBox="1">
            <a:spLocks/>
          </p:cNvSpPr>
          <p:nvPr/>
        </p:nvSpPr>
        <p:spPr>
          <a:xfrm>
            <a:off x="1343472" y="3045197"/>
            <a:ext cx="4464496" cy="8640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B93AEC7F-E016-4028-8125-E9AD593E5096}"/>
              </a:ext>
            </a:extLst>
          </p:cNvPr>
          <p:cNvSpPr txBox="1">
            <a:spLocks/>
          </p:cNvSpPr>
          <p:nvPr/>
        </p:nvSpPr>
        <p:spPr>
          <a:xfrm>
            <a:off x="1343472" y="4209206"/>
            <a:ext cx="4464496" cy="8640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A7C5A02D-BA03-4021-9CED-29769B8C1173}"/>
              </a:ext>
            </a:extLst>
          </p:cNvPr>
          <p:cNvSpPr txBox="1">
            <a:spLocks/>
          </p:cNvSpPr>
          <p:nvPr/>
        </p:nvSpPr>
        <p:spPr>
          <a:xfrm>
            <a:off x="1343472" y="5373216"/>
            <a:ext cx="4464496" cy="8640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A4A92A6-D6AF-4F22-86D2-B68520CCFD73}"/>
              </a:ext>
            </a:extLst>
          </p:cNvPr>
          <p:cNvGrpSpPr/>
          <p:nvPr/>
        </p:nvGrpSpPr>
        <p:grpSpPr>
          <a:xfrm>
            <a:off x="407988" y="2895193"/>
            <a:ext cx="5399980" cy="2328020"/>
            <a:chOff x="767968" y="2895193"/>
            <a:chExt cx="5040000" cy="2328020"/>
          </a:xfrm>
        </p:grpSpPr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9AF231EA-0FEE-41B2-BA6F-356E497BF629}"/>
                </a:ext>
              </a:extLst>
            </p:cNvPr>
            <p:cNvCxnSpPr>
              <a:cxnSpLocks/>
            </p:cNvCxnSpPr>
            <p:nvPr/>
          </p:nvCxnSpPr>
          <p:spPr>
            <a:xfrm>
              <a:off x="767968" y="2895193"/>
              <a:ext cx="5040000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5136324B-CFE3-417C-A850-B0B99843BC40}"/>
                </a:ext>
              </a:extLst>
            </p:cNvPr>
            <p:cNvCxnSpPr>
              <a:cxnSpLocks/>
            </p:cNvCxnSpPr>
            <p:nvPr/>
          </p:nvCxnSpPr>
          <p:spPr>
            <a:xfrm>
              <a:off x="767968" y="4059203"/>
              <a:ext cx="5040000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9B88C9E5-492A-474A-A3E6-7B9774BC7138}"/>
                </a:ext>
              </a:extLst>
            </p:cNvPr>
            <p:cNvCxnSpPr>
              <a:cxnSpLocks/>
            </p:cNvCxnSpPr>
            <p:nvPr/>
          </p:nvCxnSpPr>
          <p:spPr>
            <a:xfrm>
              <a:off x="767968" y="5223213"/>
              <a:ext cx="5040000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7D36802A-8A6E-4A58-B5A2-0CE0AFA25DBB}"/>
              </a:ext>
            </a:extLst>
          </p:cNvPr>
          <p:cNvSpPr txBox="1">
            <a:spLocks/>
          </p:cNvSpPr>
          <p:nvPr/>
        </p:nvSpPr>
        <p:spPr>
          <a:xfrm>
            <a:off x="8220236" y="3716870"/>
            <a:ext cx="3563777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400" dirty="0">
                <a:solidFill>
                  <a:schemeClr val="bg2"/>
                </a:solidFill>
              </a:rPr>
              <a:t>Lorem ipsum </a:t>
            </a:r>
            <a:r>
              <a:rPr lang="da-DK" sz="2400" dirty="0">
                <a:solidFill>
                  <a:schemeClr val="tx1"/>
                </a:solidFill>
              </a:rPr>
              <a:t>dolor sit amet consect etuer.</a:t>
            </a:r>
            <a:endParaRPr lang="de-DE" sz="2400" dirty="0">
              <a:solidFill>
                <a:schemeClr val="tx1"/>
              </a:solidFill>
            </a:endParaRPr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962D1A3F-9B54-425D-8B17-5AEB3751D013}"/>
              </a:ext>
            </a:extLst>
          </p:cNvPr>
          <p:cNvSpPr>
            <a:spLocks/>
          </p:cNvSpPr>
          <p:nvPr/>
        </p:nvSpPr>
        <p:spPr bwMode="auto">
          <a:xfrm>
            <a:off x="7131429" y="3638551"/>
            <a:ext cx="620626" cy="877402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 w="444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BEB94309-6906-490D-B951-43A3B5E372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368" y="4292087"/>
            <a:ext cx="698238" cy="698238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B71E735C-A368-4157-A20E-5F9D90FDDA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7368" y="5456097"/>
            <a:ext cx="698238" cy="698238"/>
          </a:xfrm>
          <a:prstGeom prst="rect">
            <a:avLst/>
          </a:prstGeom>
        </p:spPr>
      </p:pic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E78506BD-7997-427E-9DE9-90095FD0ECF6}"/>
              </a:ext>
            </a:extLst>
          </p:cNvPr>
          <p:cNvSpPr/>
          <p:nvPr/>
        </p:nvSpPr>
        <p:spPr>
          <a:xfrm>
            <a:off x="5827312" y="1870876"/>
            <a:ext cx="2879366" cy="1647576"/>
          </a:xfrm>
          <a:custGeom>
            <a:avLst/>
            <a:gdLst>
              <a:gd name="connsiteX0" fmla="*/ 2902226 w 2902226"/>
              <a:gd name="connsiteY0" fmla="*/ 1639956 h 1639956"/>
              <a:gd name="connsiteX1" fmla="*/ 1987826 w 2902226"/>
              <a:gd name="connsiteY1" fmla="*/ 1639956 h 1639956"/>
              <a:gd name="connsiteX2" fmla="*/ 0 w 2902226"/>
              <a:gd name="connsiteY2" fmla="*/ 0 h 1639956"/>
              <a:gd name="connsiteX0" fmla="*/ 2879366 w 2879366"/>
              <a:gd name="connsiteY0" fmla="*/ 1647576 h 1647576"/>
              <a:gd name="connsiteX1" fmla="*/ 1964966 w 2879366"/>
              <a:gd name="connsiteY1" fmla="*/ 1647576 h 1647576"/>
              <a:gd name="connsiteX2" fmla="*/ 0 w 2879366"/>
              <a:gd name="connsiteY2" fmla="*/ 0 h 164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9366" h="1647576">
                <a:moveTo>
                  <a:pt x="2879366" y="1647576"/>
                </a:moveTo>
                <a:lnTo>
                  <a:pt x="1964966" y="1647576"/>
                </a:lnTo>
                <a:cubicBezTo>
                  <a:pt x="1302357" y="1100924"/>
                  <a:pt x="662609" y="546652"/>
                  <a:pt x="0" y="0"/>
                </a:cubicBezTo>
              </a:path>
            </a:pathLst>
          </a:custGeom>
          <a:noFill/>
          <a:ln w="38100" cap="rnd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/>
          <a:p>
            <a:pPr algn="ctr"/>
            <a:endParaRPr lang="de-DE">
              <a:solidFill>
                <a:schemeClr val="tx2"/>
              </a:solidFill>
              <a:latin typeface="+mj-lt"/>
            </a:endParaRPr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189665E6-1BF9-4CA0-9612-8D56AC26EDA0}"/>
              </a:ext>
            </a:extLst>
          </p:cNvPr>
          <p:cNvSpPr/>
          <p:nvPr/>
        </p:nvSpPr>
        <p:spPr>
          <a:xfrm flipV="1">
            <a:off x="5827312" y="4625740"/>
            <a:ext cx="2879366" cy="1647576"/>
          </a:xfrm>
          <a:custGeom>
            <a:avLst/>
            <a:gdLst>
              <a:gd name="connsiteX0" fmla="*/ 2902226 w 2902226"/>
              <a:gd name="connsiteY0" fmla="*/ 1639956 h 1639956"/>
              <a:gd name="connsiteX1" fmla="*/ 1987826 w 2902226"/>
              <a:gd name="connsiteY1" fmla="*/ 1639956 h 1639956"/>
              <a:gd name="connsiteX2" fmla="*/ 0 w 2902226"/>
              <a:gd name="connsiteY2" fmla="*/ 0 h 1639956"/>
              <a:gd name="connsiteX0" fmla="*/ 2879366 w 2879366"/>
              <a:gd name="connsiteY0" fmla="*/ 1647576 h 1647576"/>
              <a:gd name="connsiteX1" fmla="*/ 1964966 w 2879366"/>
              <a:gd name="connsiteY1" fmla="*/ 1647576 h 1647576"/>
              <a:gd name="connsiteX2" fmla="*/ 0 w 2879366"/>
              <a:gd name="connsiteY2" fmla="*/ 0 h 164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9366" h="1647576">
                <a:moveTo>
                  <a:pt x="2879366" y="1647576"/>
                </a:moveTo>
                <a:lnTo>
                  <a:pt x="1964966" y="1647576"/>
                </a:lnTo>
                <a:cubicBezTo>
                  <a:pt x="1302357" y="1100924"/>
                  <a:pt x="662609" y="546652"/>
                  <a:pt x="0" y="0"/>
                </a:cubicBezTo>
              </a:path>
            </a:pathLst>
          </a:custGeom>
          <a:noFill/>
          <a:ln w="38100" cap="rnd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/>
          <a:p>
            <a:pPr algn="ctr"/>
            <a:endParaRPr lang="de-DE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7073410-2FC1-E15D-9455-BE86BDD257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6800" y="1965600"/>
            <a:ext cx="698400" cy="6984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2C922E6C-141B-CBC4-79CF-261A37AC55B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6800" y="31284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032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5E44FB4B-9C48-4BD5-AE15-557E7165C6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leichgewicht herstell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7996AE-A696-420C-940E-79E5B7FB4E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1D715F-EC17-4886-BA69-C4B105CF5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115</a:t>
            </a:fld>
            <a:endParaRPr lang="de-DE" dirty="0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DABEE92-E5E0-4862-98C9-F89491E3632F}"/>
              </a:ext>
            </a:extLst>
          </p:cNvPr>
          <p:cNvGrpSpPr/>
          <p:nvPr/>
        </p:nvGrpSpPr>
        <p:grpSpPr>
          <a:xfrm>
            <a:off x="2351584" y="5048696"/>
            <a:ext cx="7524836" cy="1225104"/>
            <a:chOff x="2351584" y="5048696"/>
            <a:chExt cx="7524836" cy="1225104"/>
          </a:xfrm>
          <a:solidFill>
            <a:srgbClr val="E4DAD4"/>
          </a:solidFill>
        </p:grpSpPr>
        <p:sp>
          <p:nvSpPr>
            <p:cNvPr id="11" name="Gleichschenkliges Dreieck 10">
              <a:extLst>
                <a:ext uri="{FF2B5EF4-FFF2-40B4-BE49-F238E27FC236}">
                  <a16:creationId xmlns:a16="http://schemas.microsoft.com/office/drawing/2014/main" id="{9C07FA2C-FAD8-484F-AAC8-B0BEAF8510CA}"/>
                </a:ext>
              </a:extLst>
            </p:cNvPr>
            <p:cNvSpPr/>
            <p:nvPr/>
          </p:nvSpPr>
          <p:spPr>
            <a:xfrm>
              <a:off x="5317684" y="5048696"/>
              <a:ext cx="1592636" cy="122510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DE536137-BABD-4775-86D0-406A2F12476B}"/>
                </a:ext>
              </a:extLst>
            </p:cNvPr>
            <p:cNvSpPr/>
            <p:nvPr/>
          </p:nvSpPr>
          <p:spPr>
            <a:xfrm>
              <a:off x="2351584" y="5265216"/>
              <a:ext cx="7524836" cy="108000"/>
            </a:xfrm>
            <a:prstGeom prst="rect">
              <a:avLst/>
            </a:prstGeom>
            <a:grpFill/>
            <a:ln w="76200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6" name="Ellipse 15">
            <a:extLst>
              <a:ext uri="{FF2B5EF4-FFF2-40B4-BE49-F238E27FC236}">
                <a16:creationId xmlns:a16="http://schemas.microsoft.com/office/drawing/2014/main" id="{EC293839-F25F-44CF-9B94-C2F8573ABC35}"/>
              </a:ext>
            </a:extLst>
          </p:cNvPr>
          <p:cNvSpPr/>
          <p:nvPr/>
        </p:nvSpPr>
        <p:spPr>
          <a:xfrm>
            <a:off x="3551947" y="4095012"/>
            <a:ext cx="1139897" cy="113989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0A846C76-CDB7-4F20-8908-62434C3C6A47}"/>
              </a:ext>
            </a:extLst>
          </p:cNvPr>
          <p:cNvSpPr/>
          <p:nvPr/>
        </p:nvSpPr>
        <p:spPr>
          <a:xfrm>
            <a:off x="7644173" y="4274968"/>
            <a:ext cx="959941" cy="95994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2CF0A1C3-D3DD-4C00-A1D0-31973063A4DA}"/>
              </a:ext>
            </a:extLst>
          </p:cNvPr>
          <p:cNvSpPr txBox="1">
            <a:spLocks/>
          </p:cNvSpPr>
          <p:nvPr/>
        </p:nvSpPr>
        <p:spPr>
          <a:xfrm>
            <a:off x="8127314" y="1844675"/>
            <a:ext cx="3657317" cy="1602265"/>
          </a:xfrm>
          <a:prstGeom prst="rect">
            <a:avLst/>
          </a:prstGeom>
        </p:spPr>
        <p:txBody>
          <a:bodyPr vert="horz" lIns="72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CD1A315A-ED4A-44B0-B41F-98717C3F48E9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3713907" cy="1602265"/>
          </a:xfrm>
          <a:prstGeom prst="rect">
            <a:avLst/>
          </a:prstGeom>
        </p:spPr>
        <p:txBody>
          <a:bodyPr vert="horz" lIns="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311709F4-F12E-4EA4-8CCE-53C3A189512B}"/>
              </a:ext>
            </a:extLst>
          </p:cNvPr>
          <p:cNvCxnSpPr>
            <a:cxnSpLocks/>
          </p:cNvCxnSpPr>
          <p:nvPr/>
        </p:nvCxnSpPr>
        <p:spPr>
          <a:xfrm flipV="1">
            <a:off x="4121895" y="1881188"/>
            <a:ext cx="0" cy="2088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F737885-9E9E-45FA-A8BF-3FE8ADF952BD}"/>
              </a:ext>
            </a:extLst>
          </p:cNvPr>
          <p:cNvCxnSpPr>
            <a:cxnSpLocks/>
          </p:cNvCxnSpPr>
          <p:nvPr/>
        </p:nvCxnSpPr>
        <p:spPr>
          <a:xfrm flipV="1">
            <a:off x="8112224" y="1881188"/>
            <a:ext cx="0" cy="2304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Bogen 36">
            <a:extLst>
              <a:ext uri="{FF2B5EF4-FFF2-40B4-BE49-F238E27FC236}">
                <a16:creationId xmlns:a16="http://schemas.microsoft.com/office/drawing/2014/main" id="{2090F72A-F9A8-4FA0-9BF2-BD022EE4BBF2}"/>
              </a:ext>
            </a:extLst>
          </p:cNvPr>
          <p:cNvSpPr/>
          <p:nvPr/>
        </p:nvSpPr>
        <p:spPr>
          <a:xfrm>
            <a:off x="4121895" y="3446940"/>
            <a:ext cx="3990230" cy="3990230"/>
          </a:xfrm>
          <a:prstGeom prst="arc">
            <a:avLst>
              <a:gd name="adj1" fmla="val 13159236"/>
              <a:gd name="adj2" fmla="val 19514812"/>
            </a:avLst>
          </a:prstGeom>
          <a:ln w="19050">
            <a:solidFill>
              <a:schemeClr val="tx2"/>
            </a:solidFill>
            <a:headEnd type="arrow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2D71084B-4F4E-4DCC-94FC-47D46391197A}"/>
              </a:ext>
            </a:extLst>
          </p:cNvPr>
          <p:cNvSpPr txBox="1">
            <a:spLocks/>
          </p:cNvSpPr>
          <p:nvPr/>
        </p:nvSpPr>
        <p:spPr>
          <a:xfrm>
            <a:off x="5087888" y="1869113"/>
            <a:ext cx="2124532" cy="133214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a-DK" dirty="0">
                <a:solidFill>
                  <a:schemeClr val="tx1"/>
                </a:solidFill>
              </a:rPr>
              <a:t>Lorem ipsum </a:t>
            </a:r>
            <a:br>
              <a:rPr lang="da-DK" dirty="0">
                <a:solidFill>
                  <a:schemeClr val="tx1"/>
                </a:solidFill>
              </a:rPr>
            </a:br>
            <a:r>
              <a:rPr lang="da-DK" dirty="0">
                <a:solidFill>
                  <a:schemeClr val="tx1"/>
                </a:solidFill>
              </a:rPr>
              <a:t>dolor sit amet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77F8560-201D-AD53-1478-F889EF82E7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72695" y="4315760"/>
            <a:ext cx="698400" cy="698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C9C9A66-1EFA-52A7-BB75-9A1CE658D4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74943" y="4401708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615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078B92D4-64A9-44C6-B628-85209109E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WOT-Analys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DF40BCB-EBEA-4C0E-8AB1-A6519FCB0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B6C1EB-6E6D-4DE4-8F7C-41889C00B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116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B661A217-1056-43E7-A5BE-A202B7CAFFFF}"/>
              </a:ext>
            </a:extLst>
          </p:cNvPr>
          <p:cNvSpPr txBox="1">
            <a:spLocks/>
          </p:cNvSpPr>
          <p:nvPr/>
        </p:nvSpPr>
        <p:spPr>
          <a:xfrm>
            <a:off x="1091928" y="1880828"/>
            <a:ext cx="4968000" cy="20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Stärk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62F6CE3-B63B-4413-A6E5-C68B9985C544}"/>
              </a:ext>
            </a:extLst>
          </p:cNvPr>
          <p:cNvSpPr txBox="1">
            <a:spLocks/>
          </p:cNvSpPr>
          <p:nvPr/>
        </p:nvSpPr>
        <p:spPr>
          <a:xfrm>
            <a:off x="7068660" y="1880828"/>
            <a:ext cx="4715353" cy="20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Chanc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5C394A5A-E39F-4AF5-AFFB-8939717A932B}"/>
              </a:ext>
            </a:extLst>
          </p:cNvPr>
          <p:cNvCxnSpPr>
            <a:cxnSpLocks/>
          </p:cNvCxnSpPr>
          <p:nvPr/>
        </p:nvCxnSpPr>
        <p:spPr>
          <a:xfrm>
            <a:off x="407988" y="4076892"/>
            <a:ext cx="11376025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FFFFA36-560A-4BDE-88A0-7FDF78123D24}"/>
              </a:ext>
            </a:extLst>
          </p:cNvPr>
          <p:cNvCxnSpPr>
            <a:cxnSpLocks/>
          </p:cNvCxnSpPr>
          <p:nvPr/>
        </p:nvCxnSpPr>
        <p:spPr>
          <a:xfrm>
            <a:off x="6096000" y="5409316"/>
            <a:ext cx="0" cy="864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8712992-1B6D-4848-8895-6C59D9CB381D}"/>
              </a:ext>
            </a:extLst>
          </p:cNvPr>
          <p:cNvSpPr/>
          <p:nvPr/>
        </p:nvSpPr>
        <p:spPr>
          <a:xfrm>
            <a:off x="5808664" y="4004884"/>
            <a:ext cx="574674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Grafik 8">
            <a:extLst>
              <a:ext uri="{FF2B5EF4-FFF2-40B4-BE49-F238E27FC236}">
                <a16:creationId xmlns:a16="http://schemas.microsoft.com/office/drawing/2014/main" id="{B587378A-6D77-4E9E-8FCA-BBABE8586A6C}"/>
              </a:ext>
            </a:extLst>
          </p:cNvPr>
          <p:cNvSpPr>
            <a:spLocks noChangeAspect="1"/>
          </p:cNvSpPr>
          <p:nvPr/>
        </p:nvSpPr>
        <p:spPr>
          <a:xfrm>
            <a:off x="6384104" y="1880828"/>
            <a:ext cx="539988" cy="540000"/>
          </a:xfrm>
          <a:custGeom>
            <a:avLst/>
            <a:gdLst>
              <a:gd name="connsiteX0" fmla="*/ 2159889 w 4319873"/>
              <a:gd name="connsiteY0" fmla="*/ 0 h 4319968"/>
              <a:gd name="connsiteX1" fmla="*/ 0 w 4319873"/>
              <a:gd name="connsiteY1" fmla="*/ 2159984 h 4319968"/>
              <a:gd name="connsiteX2" fmla="*/ 144018 w 4319873"/>
              <a:gd name="connsiteY2" fmla="*/ 2951988 h 4319968"/>
              <a:gd name="connsiteX3" fmla="*/ 331184 w 4319873"/>
              <a:gd name="connsiteY3" fmla="*/ 3038380 h 4319968"/>
              <a:gd name="connsiteX4" fmla="*/ 417576 w 4319873"/>
              <a:gd name="connsiteY4" fmla="*/ 2851214 h 4319968"/>
              <a:gd name="connsiteX5" fmla="*/ 287941 w 4319873"/>
              <a:gd name="connsiteY5" fmla="*/ 2159984 h 4319968"/>
              <a:gd name="connsiteX6" fmla="*/ 2159794 w 4319873"/>
              <a:gd name="connsiteY6" fmla="*/ 288036 h 4319968"/>
              <a:gd name="connsiteX7" fmla="*/ 4031647 w 4319873"/>
              <a:gd name="connsiteY7" fmla="*/ 2159984 h 4319968"/>
              <a:gd name="connsiteX8" fmla="*/ 2159889 w 4319873"/>
              <a:gd name="connsiteY8" fmla="*/ 4031933 h 4319968"/>
              <a:gd name="connsiteX9" fmla="*/ 806387 w 4319873"/>
              <a:gd name="connsiteY9" fmla="*/ 3455956 h 4319968"/>
              <a:gd name="connsiteX10" fmla="*/ 604838 w 4319873"/>
              <a:gd name="connsiteY10" fmla="*/ 3455956 h 4319968"/>
              <a:gd name="connsiteX11" fmla="*/ 604838 w 4319873"/>
              <a:gd name="connsiteY11" fmla="*/ 3657600 h 4319968"/>
              <a:gd name="connsiteX12" fmla="*/ 2159984 w 4319873"/>
              <a:gd name="connsiteY12" fmla="*/ 4319969 h 4319968"/>
              <a:gd name="connsiteX13" fmla="*/ 4319873 w 4319873"/>
              <a:gd name="connsiteY13" fmla="*/ 2159984 h 4319968"/>
              <a:gd name="connsiteX14" fmla="*/ 2159889 w 4319873"/>
              <a:gd name="connsiteY14" fmla="*/ 0 h 4319968"/>
              <a:gd name="connsiteX15" fmla="*/ 2158365 w 4319873"/>
              <a:gd name="connsiteY15" fmla="*/ 2688622 h 4319968"/>
              <a:gd name="connsiteX16" fmla="*/ 2348865 w 4319873"/>
              <a:gd name="connsiteY16" fmla="*/ 2498122 h 4319968"/>
              <a:gd name="connsiteX17" fmla="*/ 2348865 w 4319873"/>
              <a:gd name="connsiteY17" fmla="*/ 1163288 h 4319968"/>
              <a:gd name="connsiteX18" fmla="*/ 2158365 w 4319873"/>
              <a:gd name="connsiteY18" fmla="*/ 972788 h 4319968"/>
              <a:gd name="connsiteX19" fmla="*/ 1967865 w 4319873"/>
              <a:gd name="connsiteY19" fmla="*/ 1163288 h 4319968"/>
              <a:gd name="connsiteX20" fmla="*/ 1967865 w 4319873"/>
              <a:gd name="connsiteY20" fmla="*/ 2498122 h 4319968"/>
              <a:gd name="connsiteX21" fmla="*/ 2158365 w 4319873"/>
              <a:gd name="connsiteY21" fmla="*/ 2688622 h 4319968"/>
              <a:gd name="connsiteX22" fmla="*/ 2159127 w 4319873"/>
              <a:gd name="connsiteY22" fmla="*/ 3431572 h 4319968"/>
              <a:gd name="connsiteX23" fmla="*/ 2378202 w 4319873"/>
              <a:gd name="connsiteY23" fmla="*/ 3212497 h 4319968"/>
              <a:gd name="connsiteX24" fmla="*/ 2159127 w 4319873"/>
              <a:gd name="connsiteY24" fmla="*/ 2993422 h 4319968"/>
              <a:gd name="connsiteX25" fmla="*/ 1940052 w 4319873"/>
              <a:gd name="connsiteY25" fmla="*/ 3212497 h 4319968"/>
              <a:gd name="connsiteX26" fmla="*/ 2159127 w 4319873"/>
              <a:gd name="connsiteY26" fmla="*/ 3431572 h 431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19873" h="4319968">
                <a:moveTo>
                  <a:pt x="2159889" y="0"/>
                </a:moveTo>
                <a:cubicBezTo>
                  <a:pt x="964787" y="0"/>
                  <a:pt x="0" y="964787"/>
                  <a:pt x="0" y="2159984"/>
                </a:cubicBezTo>
                <a:cubicBezTo>
                  <a:pt x="0" y="2433542"/>
                  <a:pt x="57626" y="2707196"/>
                  <a:pt x="144018" y="2951988"/>
                </a:cubicBezTo>
                <a:cubicBezTo>
                  <a:pt x="172784" y="3038380"/>
                  <a:pt x="259175" y="3067145"/>
                  <a:pt x="331184" y="3038380"/>
                </a:cubicBezTo>
                <a:cubicBezTo>
                  <a:pt x="417576" y="3009614"/>
                  <a:pt x="446342" y="2923223"/>
                  <a:pt x="417576" y="2851214"/>
                </a:cubicBezTo>
                <a:cubicBezTo>
                  <a:pt x="331184" y="2635187"/>
                  <a:pt x="287941" y="2404777"/>
                  <a:pt x="287941" y="2159984"/>
                </a:cubicBezTo>
                <a:cubicBezTo>
                  <a:pt x="287941" y="1123188"/>
                  <a:pt x="1123093" y="288036"/>
                  <a:pt x="2159794" y="288036"/>
                </a:cubicBezTo>
                <a:cubicBezTo>
                  <a:pt x="3196495" y="288036"/>
                  <a:pt x="4031647" y="1123188"/>
                  <a:pt x="4031647" y="2159984"/>
                </a:cubicBezTo>
                <a:cubicBezTo>
                  <a:pt x="4031647" y="3196781"/>
                  <a:pt x="3196590" y="4031933"/>
                  <a:pt x="2159889" y="4031933"/>
                </a:cubicBezTo>
                <a:cubicBezTo>
                  <a:pt x="1655921" y="4031933"/>
                  <a:pt x="1151954" y="3815906"/>
                  <a:pt x="806387" y="3455956"/>
                </a:cubicBezTo>
                <a:cubicBezTo>
                  <a:pt x="748760" y="3398330"/>
                  <a:pt x="662369" y="3398330"/>
                  <a:pt x="604838" y="3455956"/>
                </a:cubicBezTo>
                <a:cubicBezTo>
                  <a:pt x="547211" y="3513582"/>
                  <a:pt x="547211" y="3599974"/>
                  <a:pt x="604838" y="3657600"/>
                </a:cubicBezTo>
                <a:cubicBezTo>
                  <a:pt x="1008031" y="4075176"/>
                  <a:pt x="1569625" y="4319969"/>
                  <a:pt x="2159984" y="4319969"/>
                </a:cubicBezTo>
                <a:cubicBezTo>
                  <a:pt x="3355086" y="4319969"/>
                  <a:pt x="4319873" y="3355181"/>
                  <a:pt x="4319873" y="2159984"/>
                </a:cubicBezTo>
                <a:cubicBezTo>
                  <a:pt x="4319873" y="964787"/>
                  <a:pt x="3354991" y="0"/>
                  <a:pt x="2159889" y="0"/>
                </a:cubicBezTo>
                <a:close/>
                <a:moveTo>
                  <a:pt x="2158365" y="2688622"/>
                </a:moveTo>
                <a:cubicBezTo>
                  <a:pt x="2263616" y="2688622"/>
                  <a:pt x="2348865" y="2603373"/>
                  <a:pt x="2348865" y="2498122"/>
                </a:cubicBezTo>
                <a:lnTo>
                  <a:pt x="2348865" y="1163288"/>
                </a:lnTo>
                <a:cubicBezTo>
                  <a:pt x="2348865" y="1058037"/>
                  <a:pt x="2263616" y="972788"/>
                  <a:pt x="2158365" y="972788"/>
                </a:cubicBezTo>
                <a:cubicBezTo>
                  <a:pt x="2053114" y="972788"/>
                  <a:pt x="1967865" y="1058037"/>
                  <a:pt x="1967865" y="1163288"/>
                </a:cubicBezTo>
                <a:lnTo>
                  <a:pt x="1967865" y="2498122"/>
                </a:lnTo>
                <a:cubicBezTo>
                  <a:pt x="1967865" y="2603278"/>
                  <a:pt x="2053114" y="2688622"/>
                  <a:pt x="2158365" y="2688622"/>
                </a:cubicBezTo>
                <a:close/>
                <a:moveTo>
                  <a:pt x="2159127" y="3431572"/>
                </a:moveTo>
                <a:cubicBezTo>
                  <a:pt x="2279904" y="3431572"/>
                  <a:pt x="2378202" y="3333274"/>
                  <a:pt x="2378202" y="3212497"/>
                </a:cubicBezTo>
                <a:cubicBezTo>
                  <a:pt x="2378202" y="3091720"/>
                  <a:pt x="2279904" y="2993422"/>
                  <a:pt x="2159127" y="2993422"/>
                </a:cubicBezTo>
                <a:cubicBezTo>
                  <a:pt x="2038350" y="2993422"/>
                  <a:pt x="1940052" y="3091720"/>
                  <a:pt x="1940052" y="3212497"/>
                </a:cubicBezTo>
                <a:cubicBezTo>
                  <a:pt x="1940052" y="3333274"/>
                  <a:pt x="2038255" y="3431572"/>
                  <a:pt x="2159127" y="3431572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606380F-A0DF-45D6-AE2A-05594E1E9A2A}"/>
              </a:ext>
            </a:extLst>
          </p:cNvPr>
          <p:cNvSpPr txBox="1">
            <a:spLocks/>
          </p:cNvSpPr>
          <p:nvPr/>
        </p:nvSpPr>
        <p:spPr>
          <a:xfrm>
            <a:off x="1091308" y="4256581"/>
            <a:ext cx="4968000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Schwäch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3A046435-7F8E-4074-9C8B-71A27497B8EA}"/>
              </a:ext>
            </a:extLst>
          </p:cNvPr>
          <p:cNvSpPr txBox="1">
            <a:spLocks/>
          </p:cNvSpPr>
          <p:nvPr/>
        </p:nvSpPr>
        <p:spPr>
          <a:xfrm>
            <a:off x="7068040" y="4256581"/>
            <a:ext cx="4715353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Risik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16F7E02D-AFD6-42C3-800F-AA89B049AFDF}"/>
              </a:ext>
            </a:extLst>
          </p:cNvPr>
          <p:cNvSpPr/>
          <p:nvPr/>
        </p:nvSpPr>
        <p:spPr>
          <a:xfrm>
            <a:off x="403349" y="4256581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360 h 2202768"/>
              <a:gd name="connsiteX2" fmla="*/ 73437 w 2202719"/>
              <a:gd name="connsiteY2" fmla="*/ 1505215 h 2202768"/>
              <a:gd name="connsiteX3" fmla="*/ 168876 w 2202719"/>
              <a:gd name="connsiteY3" fmla="*/ 1549267 h 2202768"/>
              <a:gd name="connsiteX4" fmla="*/ 212928 w 2202719"/>
              <a:gd name="connsiteY4" fmla="*/ 1453828 h 2202768"/>
              <a:gd name="connsiteX5" fmla="*/ 146825 w 2202719"/>
              <a:gd name="connsiteY5" fmla="*/ 1101360 h 2202768"/>
              <a:gd name="connsiteX6" fmla="*/ 1101311 w 2202719"/>
              <a:gd name="connsiteY6" fmla="*/ 146826 h 2202768"/>
              <a:gd name="connsiteX7" fmla="*/ 2055797 w 2202719"/>
              <a:gd name="connsiteY7" fmla="*/ 1101360 h 2202768"/>
              <a:gd name="connsiteX8" fmla="*/ 1101311 w 2202719"/>
              <a:gd name="connsiteY8" fmla="*/ 2055894 h 2202768"/>
              <a:gd name="connsiteX9" fmla="*/ 411140 w 2202719"/>
              <a:gd name="connsiteY9" fmla="*/ 1762195 h 2202768"/>
              <a:gd name="connsiteX10" fmla="*/ 308367 w 2202719"/>
              <a:gd name="connsiteY10" fmla="*/ 1762195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652623 w 2202719"/>
              <a:gd name="connsiteY15" fmla="*/ 1198499 h 2202768"/>
              <a:gd name="connsiteX16" fmla="*/ 1749761 w 2202719"/>
              <a:gd name="connsiteY16" fmla="*/ 1101360 h 2202768"/>
              <a:gd name="connsiteX17" fmla="*/ 1652623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652623 w 2202719"/>
              <a:gd name="connsiteY21" fmla="*/ 1198499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11"/>
                  <a:pt x="0" y="1101360"/>
                </a:cubicBezTo>
                <a:cubicBezTo>
                  <a:pt x="0" y="1240851"/>
                  <a:pt x="29384" y="1380391"/>
                  <a:pt x="73437" y="1505215"/>
                </a:cubicBezTo>
                <a:cubicBezTo>
                  <a:pt x="88105" y="1549267"/>
                  <a:pt x="132157" y="1563935"/>
                  <a:pt x="168876" y="1549267"/>
                </a:cubicBezTo>
                <a:cubicBezTo>
                  <a:pt x="212928" y="1534599"/>
                  <a:pt x="227596" y="1490547"/>
                  <a:pt x="212928" y="1453828"/>
                </a:cubicBezTo>
                <a:cubicBezTo>
                  <a:pt x="168876" y="1343673"/>
                  <a:pt x="146825" y="1226183"/>
                  <a:pt x="146825" y="1101360"/>
                </a:cubicBezTo>
                <a:cubicBezTo>
                  <a:pt x="146825" y="572682"/>
                  <a:pt x="572682" y="146826"/>
                  <a:pt x="1101311" y="146826"/>
                </a:cubicBezTo>
                <a:cubicBezTo>
                  <a:pt x="1629941" y="146826"/>
                  <a:pt x="2055797" y="572682"/>
                  <a:pt x="2055797" y="1101360"/>
                </a:cubicBezTo>
                <a:cubicBezTo>
                  <a:pt x="2055797" y="1630038"/>
                  <a:pt x="1629941" y="2055894"/>
                  <a:pt x="1101311" y="2055894"/>
                </a:cubicBezTo>
                <a:cubicBezTo>
                  <a:pt x="844331" y="2055894"/>
                  <a:pt x="587350" y="1945739"/>
                  <a:pt x="411140" y="1762195"/>
                </a:cubicBezTo>
                <a:cubicBezTo>
                  <a:pt x="381756" y="1732811"/>
                  <a:pt x="337703" y="1732811"/>
                  <a:pt x="308367" y="1762195"/>
                </a:cubicBezTo>
                <a:cubicBezTo>
                  <a:pt x="278983" y="1791580"/>
                  <a:pt x="278983" y="1835632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760" y="0"/>
                  <a:pt x="1101360" y="0"/>
                </a:cubicBezTo>
                <a:close/>
                <a:moveTo>
                  <a:pt x="1652623" y="1198499"/>
                </a:move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1"/>
                  <a:pt x="1706292" y="1004221"/>
                  <a:pt x="1652623" y="1004221"/>
                </a:cubicBezTo>
                <a:lnTo>
                  <a:pt x="550097" y="1004221"/>
                </a:lnTo>
                <a:cubicBezTo>
                  <a:pt x="496428" y="1004221"/>
                  <a:pt x="452958" y="1047691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652623" y="1198499"/>
                </a:lnTo>
                <a:close/>
              </a:path>
            </a:pathLst>
          </a:custGeom>
          <a:solidFill>
            <a:schemeClr val="tx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FBD5E2CD-CDF6-48D2-91E5-0AB255AC7D8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83338" y="4256581"/>
            <a:ext cx="427236" cy="557313"/>
          </a:xfrm>
          <a:prstGeom prst="rect">
            <a:avLst/>
          </a:prstGeom>
        </p:spPr>
      </p:pic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05D0D085-2989-47D3-A93A-7672449BC18B}"/>
              </a:ext>
            </a:extLst>
          </p:cNvPr>
          <p:cNvSpPr/>
          <p:nvPr/>
        </p:nvSpPr>
        <p:spPr>
          <a:xfrm>
            <a:off x="412247" y="1880828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408 h 2202768"/>
              <a:gd name="connsiteX2" fmla="*/ 73437 w 2202719"/>
              <a:gd name="connsiteY2" fmla="*/ 1505263 h 2202768"/>
              <a:gd name="connsiteX3" fmla="*/ 168876 w 2202719"/>
              <a:gd name="connsiteY3" fmla="*/ 1549315 h 2202768"/>
              <a:gd name="connsiteX4" fmla="*/ 212928 w 2202719"/>
              <a:gd name="connsiteY4" fmla="*/ 1453876 h 2202768"/>
              <a:gd name="connsiteX5" fmla="*/ 146826 w 2202719"/>
              <a:gd name="connsiteY5" fmla="*/ 1101408 h 2202768"/>
              <a:gd name="connsiteX6" fmla="*/ 1101311 w 2202719"/>
              <a:gd name="connsiteY6" fmla="*/ 146874 h 2202768"/>
              <a:gd name="connsiteX7" fmla="*/ 2055797 w 2202719"/>
              <a:gd name="connsiteY7" fmla="*/ 1101408 h 2202768"/>
              <a:gd name="connsiteX8" fmla="*/ 1101311 w 2202719"/>
              <a:gd name="connsiteY8" fmla="*/ 2055943 h 2202768"/>
              <a:gd name="connsiteX9" fmla="*/ 411140 w 2202719"/>
              <a:gd name="connsiteY9" fmla="*/ 1762244 h 2202768"/>
              <a:gd name="connsiteX10" fmla="*/ 308367 w 2202719"/>
              <a:gd name="connsiteY10" fmla="*/ 1762244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101360 w 2202719"/>
              <a:gd name="connsiteY15" fmla="*/ 452958 h 2202768"/>
              <a:gd name="connsiteX16" fmla="*/ 1004221 w 2202719"/>
              <a:gd name="connsiteY16" fmla="*/ 550097 h 2202768"/>
              <a:gd name="connsiteX17" fmla="*/ 1004221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004221 w 2202719"/>
              <a:gd name="connsiteY21" fmla="*/ 1198499 h 2202768"/>
              <a:gd name="connsiteX22" fmla="*/ 1004221 w 2202719"/>
              <a:gd name="connsiteY22" fmla="*/ 1652623 h 2202768"/>
              <a:gd name="connsiteX23" fmla="*/ 1101360 w 2202719"/>
              <a:gd name="connsiteY23" fmla="*/ 1749761 h 2202768"/>
              <a:gd name="connsiteX24" fmla="*/ 1198499 w 2202719"/>
              <a:gd name="connsiteY24" fmla="*/ 1652623 h 2202768"/>
              <a:gd name="connsiteX25" fmla="*/ 1198499 w 2202719"/>
              <a:gd name="connsiteY25" fmla="*/ 1198499 h 2202768"/>
              <a:gd name="connsiteX26" fmla="*/ 1652623 w 2202719"/>
              <a:gd name="connsiteY26" fmla="*/ 1198499 h 2202768"/>
              <a:gd name="connsiteX27" fmla="*/ 1749761 w 2202719"/>
              <a:gd name="connsiteY27" fmla="*/ 1101360 h 2202768"/>
              <a:gd name="connsiteX28" fmla="*/ 1652623 w 2202719"/>
              <a:gd name="connsiteY28" fmla="*/ 1004221 h 2202768"/>
              <a:gd name="connsiteX29" fmla="*/ 1198499 w 2202719"/>
              <a:gd name="connsiteY29" fmla="*/ 1004221 h 2202768"/>
              <a:gd name="connsiteX30" fmla="*/ 1198499 w 2202719"/>
              <a:gd name="connsiteY30" fmla="*/ 550097 h 2202768"/>
              <a:gd name="connsiteX31" fmla="*/ 1101360 w 2202719"/>
              <a:gd name="connsiteY31" fmla="*/ 452958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59"/>
                  <a:pt x="0" y="1101408"/>
                </a:cubicBezTo>
                <a:cubicBezTo>
                  <a:pt x="0" y="1240900"/>
                  <a:pt x="29385" y="1380440"/>
                  <a:pt x="73437" y="1505263"/>
                </a:cubicBezTo>
                <a:cubicBezTo>
                  <a:pt x="88105" y="1549315"/>
                  <a:pt x="132157" y="1563984"/>
                  <a:pt x="168876" y="1549315"/>
                </a:cubicBezTo>
                <a:cubicBezTo>
                  <a:pt x="212928" y="1534647"/>
                  <a:pt x="227596" y="1490595"/>
                  <a:pt x="212928" y="1453876"/>
                </a:cubicBezTo>
                <a:cubicBezTo>
                  <a:pt x="168876" y="1343721"/>
                  <a:pt x="146826" y="1226232"/>
                  <a:pt x="146826" y="1101408"/>
                </a:cubicBezTo>
                <a:cubicBezTo>
                  <a:pt x="146826" y="572730"/>
                  <a:pt x="572682" y="146874"/>
                  <a:pt x="1101311" y="146874"/>
                </a:cubicBezTo>
                <a:cubicBezTo>
                  <a:pt x="1629941" y="146874"/>
                  <a:pt x="2055797" y="572730"/>
                  <a:pt x="2055797" y="1101408"/>
                </a:cubicBezTo>
                <a:cubicBezTo>
                  <a:pt x="2055797" y="1630086"/>
                  <a:pt x="1629941" y="2055943"/>
                  <a:pt x="1101311" y="2055943"/>
                </a:cubicBezTo>
                <a:cubicBezTo>
                  <a:pt x="844331" y="2055943"/>
                  <a:pt x="587350" y="1945788"/>
                  <a:pt x="411140" y="1762244"/>
                </a:cubicBezTo>
                <a:cubicBezTo>
                  <a:pt x="381756" y="1732859"/>
                  <a:pt x="337703" y="1732859"/>
                  <a:pt x="308367" y="1762244"/>
                </a:cubicBezTo>
                <a:cubicBezTo>
                  <a:pt x="278983" y="1791628"/>
                  <a:pt x="278983" y="1835681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809" y="0"/>
                  <a:pt x="1101360" y="0"/>
                </a:cubicBezTo>
                <a:close/>
                <a:moveTo>
                  <a:pt x="1101360" y="452958"/>
                </a:moveTo>
                <a:cubicBezTo>
                  <a:pt x="1047691" y="452958"/>
                  <a:pt x="1004221" y="496428"/>
                  <a:pt x="1004221" y="550097"/>
                </a:cubicBezTo>
                <a:lnTo>
                  <a:pt x="1004221" y="1004221"/>
                </a:lnTo>
                <a:lnTo>
                  <a:pt x="550097" y="1004221"/>
                </a:lnTo>
                <a:cubicBezTo>
                  <a:pt x="496428" y="1004221"/>
                  <a:pt x="452958" y="1047690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004221" y="1198499"/>
                </a:lnTo>
                <a:lnTo>
                  <a:pt x="1004221" y="1652623"/>
                </a:lnTo>
                <a:cubicBezTo>
                  <a:pt x="1004221" y="1706292"/>
                  <a:pt x="1047691" y="1749761"/>
                  <a:pt x="1101360" y="1749761"/>
                </a:cubicBezTo>
                <a:cubicBezTo>
                  <a:pt x="1155029" y="1749761"/>
                  <a:pt x="1198499" y="1706292"/>
                  <a:pt x="1198499" y="1652623"/>
                </a:cubicBezTo>
                <a:lnTo>
                  <a:pt x="1198499" y="1198499"/>
                </a:lnTo>
                <a:lnTo>
                  <a:pt x="1652623" y="1198499"/>
                </a:ln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0"/>
                  <a:pt x="1706292" y="1004221"/>
                  <a:pt x="1652623" y="1004221"/>
                </a:cubicBezTo>
                <a:lnTo>
                  <a:pt x="1198499" y="1004221"/>
                </a:lnTo>
                <a:lnTo>
                  <a:pt x="1198499" y="550097"/>
                </a:lnTo>
                <a:cubicBezTo>
                  <a:pt x="1198499" y="496476"/>
                  <a:pt x="1155029" y="452958"/>
                  <a:pt x="1101360" y="452958"/>
                </a:cubicBezTo>
                <a:close/>
              </a:path>
            </a:pathLst>
          </a:custGeom>
          <a:solidFill>
            <a:schemeClr val="tx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1275C15F-83FC-48DF-8F1D-D50D0DF5733B}"/>
              </a:ext>
            </a:extLst>
          </p:cNvPr>
          <p:cNvCxnSpPr/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noFill/>
          <a:ln w="38100" cap="rnd">
            <a:solidFill>
              <a:schemeClr val="accent1"/>
            </a:solidFill>
          </a:ln>
        </p:spPr>
      </p:cxnSp>
    </p:spTree>
    <p:extLst>
      <p:ext uri="{BB962C8B-B14F-4D97-AF65-F5344CB8AC3E}">
        <p14:creationId xmlns:p14="http://schemas.microsoft.com/office/powerpoint/2010/main" val="4027302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67CAA716-B533-4002-9862-A1DF5FC9181A}"/>
              </a:ext>
            </a:extLst>
          </p:cNvPr>
          <p:cNvCxnSpPr>
            <a:cxnSpLocks/>
          </p:cNvCxnSpPr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noFill/>
          <a:ln w="38100" cap="rnd">
            <a:solidFill>
              <a:schemeClr val="accent1"/>
            </a:solidFill>
          </a:ln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BC42EC7B-1345-472B-82F6-451FC7B050C9}"/>
              </a:ext>
            </a:extLst>
          </p:cNvPr>
          <p:cNvCxnSpPr>
            <a:cxnSpLocks/>
          </p:cNvCxnSpPr>
          <p:nvPr/>
        </p:nvCxnSpPr>
        <p:spPr>
          <a:xfrm>
            <a:off x="407987" y="4077072"/>
            <a:ext cx="11376025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FD72311B-D7C7-4D5B-B8D1-B615C3193129}"/>
              </a:ext>
            </a:extLst>
          </p:cNvPr>
          <p:cNvSpPr/>
          <p:nvPr/>
        </p:nvSpPr>
        <p:spPr>
          <a:xfrm>
            <a:off x="5051884" y="3032956"/>
            <a:ext cx="2088232" cy="2088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2D616755-7A3B-4B06-86E4-E58EEEB51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WOT-Analys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DF40BCB-EBEA-4C0E-8AB1-A6519FCB0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B6C1EB-6E6D-4DE4-8F7C-41889C00B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117</a:t>
            </a:fld>
            <a:endParaRPr lang="de-DE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62F6CE3-B63B-4413-A6E5-C68B9985C544}"/>
              </a:ext>
            </a:extLst>
          </p:cNvPr>
          <p:cNvSpPr txBox="1">
            <a:spLocks/>
          </p:cNvSpPr>
          <p:nvPr/>
        </p:nvSpPr>
        <p:spPr>
          <a:xfrm>
            <a:off x="7284131" y="1880828"/>
            <a:ext cx="4499881" cy="20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Chanc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5FDBD9A8-9E8E-4261-B5FF-7600B599C04F}"/>
              </a:ext>
            </a:extLst>
          </p:cNvPr>
          <p:cNvSpPr txBox="1">
            <a:spLocks/>
          </p:cNvSpPr>
          <p:nvPr/>
        </p:nvSpPr>
        <p:spPr>
          <a:xfrm>
            <a:off x="7283511" y="4256581"/>
            <a:ext cx="4499881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Risik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A43732FF-56C7-460A-9EC4-ED1F8E435009}"/>
              </a:ext>
            </a:extLst>
          </p:cNvPr>
          <p:cNvSpPr txBox="1">
            <a:spLocks/>
          </p:cNvSpPr>
          <p:nvPr/>
        </p:nvSpPr>
        <p:spPr>
          <a:xfrm>
            <a:off x="407988" y="1880828"/>
            <a:ext cx="5651940" cy="20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Stärk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br>
              <a:rPr lang="de-DE" dirty="0"/>
            </a:b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A339467E-088C-488E-A292-A50538C35FB3}"/>
              </a:ext>
            </a:extLst>
          </p:cNvPr>
          <p:cNvSpPr txBox="1">
            <a:spLocks/>
          </p:cNvSpPr>
          <p:nvPr/>
        </p:nvSpPr>
        <p:spPr>
          <a:xfrm>
            <a:off x="407368" y="4256581"/>
            <a:ext cx="5651940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Schwäch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br>
              <a:rPr lang="de-DE" dirty="0"/>
            </a:b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45B339D-ED73-4213-A0D1-41428C1AF578}"/>
              </a:ext>
            </a:extLst>
          </p:cNvPr>
          <p:cNvSpPr/>
          <p:nvPr/>
        </p:nvSpPr>
        <p:spPr>
          <a:xfrm>
            <a:off x="5159896" y="3140968"/>
            <a:ext cx="1872208" cy="1872208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Grafik 8">
            <a:extLst>
              <a:ext uri="{FF2B5EF4-FFF2-40B4-BE49-F238E27FC236}">
                <a16:creationId xmlns:a16="http://schemas.microsoft.com/office/drawing/2014/main" id="{99113913-294F-4AD9-9F4D-0D2F22AD3C77}"/>
              </a:ext>
            </a:extLst>
          </p:cNvPr>
          <p:cNvSpPr>
            <a:spLocks noChangeAspect="1"/>
          </p:cNvSpPr>
          <p:nvPr/>
        </p:nvSpPr>
        <p:spPr>
          <a:xfrm>
            <a:off x="6310156" y="3321018"/>
            <a:ext cx="539988" cy="540000"/>
          </a:xfrm>
          <a:custGeom>
            <a:avLst/>
            <a:gdLst>
              <a:gd name="connsiteX0" fmla="*/ 2159889 w 4319873"/>
              <a:gd name="connsiteY0" fmla="*/ 0 h 4319968"/>
              <a:gd name="connsiteX1" fmla="*/ 0 w 4319873"/>
              <a:gd name="connsiteY1" fmla="*/ 2159984 h 4319968"/>
              <a:gd name="connsiteX2" fmla="*/ 144018 w 4319873"/>
              <a:gd name="connsiteY2" fmla="*/ 2951988 h 4319968"/>
              <a:gd name="connsiteX3" fmla="*/ 331184 w 4319873"/>
              <a:gd name="connsiteY3" fmla="*/ 3038380 h 4319968"/>
              <a:gd name="connsiteX4" fmla="*/ 417576 w 4319873"/>
              <a:gd name="connsiteY4" fmla="*/ 2851214 h 4319968"/>
              <a:gd name="connsiteX5" fmla="*/ 287941 w 4319873"/>
              <a:gd name="connsiteY5" fmla="*/ 2159984 h 4319968"/>
              <a:gd name="connsiteX6" fmla="*/ 2159794 w 4319873"/>
              <a:gd name="connsiteY6" fmla="*/ 288036 h 4319968"/>
              <a:gd name="connsiteX7" fmla="*/ 4031647 w 4319873"/>
              <a:gd name="connsiteY7" fmla="*/ 2159984 h 4319968"/>
              <a:gd name="connsiteX8" fmla="*/ 2159889 w 4319873"/>
              <a:gd name="connsiteY8" fmla="*/ 4031933 h 4319968"/>
              <a:gd name="connsiteX9" fmla="*/ 806387 w 4319873"/>
              <a:gd name="connsiteY9" fmla="*/ 3455956 h 4319968"/>
              <a:gd name="connsiteX10" fmla="*/ 604838 w 4319873"/>
              <a:gd name="connsiteY10" fmla="*/ 3455956 h 4319968"/>
              <a:gd name="connsiteX11" fmla="*/ 604838 w 4319873"/>
              <a:gd name="connsiteY11" fmla="*/ 3657600 h 4319968"/>
              <a:gd name="connsiteX12" fmla="*/ 2159984 w 4319873"/>
              <a:gd name="connsiteY12" fmla="*/ 4319969 h 4319968"/>
              <a:gd name="connsiteX13" fmla="*/ 4319873 w 4319873"/>
              <a:gd name="connsiteY13" fmla="*/ 2159984 h 4319968"/>
              <a:gd name="connsiteX14" fmla="*/ 2159889 w 4319873"/>
              <a:gd name="connsiteY14" fmla="*/ 0 h 4319968"/>
              <a:gd name="connsiteX15" fmla="*/ 2158365 w 4319873"/>
              <a:gd name="connsiteY15" fmla="*/ 2688622 h 4319968"/>
              <a:gd name="connsiteX16" fmla="*/ 2348865 w 4319873"/>
              <a:gd name="connsiteY16" fmla="*/ 2498122 h 4319968"/>
              <a:gd name="connsiteX17" fmla="*/ 2348865 w 4319873"/>
              <a:gd name="connsiteY17" fmla="*/ 1163288 h 4319968"/>
              <a:gd name="connsiteX18" fmla="*/ 2158365 w 4319873"/>
              <a:gd name="connsiteY18" fmla="*/ 972788 h 4319968"/>
              <a:gd name="connsiteX19" fmla="*/ 1967865 w 4319873"/>
              <a:gd name="connsiteY19" fmla="*/ 1163288 h 4319968"/>
              <a:gd name="connsiteX20" fmla="*/ 1967865 w 4319873"/>
              <a:gd name="connsiteY20" fmla="*/ 2498122 h 4319968"/>
              <a:gd name="connsiteX21" fmla="*/ 2158365 w 4319873"/>
              <a:gd name="connsiteY21" fmla="*/ 2688622 h 4319968"/>
              <a:gd name="connsiteX22" fmla="*/ 2159127 w 4319873"/>
              <a:gd name="connsiteY22" fmla="*/ 3431572 h 4319968"/>
              <a:gd name="connsiteX23" fmla="*/ 2378202 w 4319873"/>
              <a:gd name="connsiteY23" fmla="*/ 3212497 h 4319968"/>
              <a:gd name="connsiteX24" fmla="*/ 2159127 w 4319873"/>
              <a:gd name="connsiteY24" fmla="*/ 2993422 h 4319968"/>
              <a:gd name="connsiteX25" fmla="*/ 1940052 w 4319873"/>
              <a:gd name="connsiteY25" fmla="*/ 3212497 h 4319968"/>
              <a:gd name="connsiteX26" fmla="*/ 2159127 w 4319873"/>
              <a:gd name="connsiteY26" fmla="*/ 3431572 h 431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19873" h="4319968">
                <a:moveTo>
                  <a:pt x="2159889" y="0"/>
                </a:moveTo>
                <a:cubicBezTo>
                  <a:pt x="964787" y="0"/>
                  <a:pt x="0" y="964787"/>
                  <a:pt x="0" y="2159984"/>
                </a:cubicBezTo>
                <a:cubicBezTo>
                  <a:pt x="0" y="2433542"/>
                  <a:pt x="57626" y="2707196"/>
                  <a:pt x="144018" y="2951988"/>
                </a:cubicBezTo>
                <a:cubicBezTo>
                  <a:pt x="172784" y="3038380"/>
                  <a:pt x="259175" y="3067145"/>
                  <a:pt x="331184" y="3038380"/>
                </a:cubicBezTo>
                <a:cubicBezTo>
                  <a:pt x="417576" y="3009614"/>
                  <a:pt x="446342" y="2923223"/>
                  <a:pt x="417576" y="2851214"/>
                </a:cubicBezTo>
                <a:cubicBezTo>
                  <a:pt x="331184" y="2635187"/>
                  <a:pt x="287941" y="2404777"/>
                  <a:pt x="287941" y="2159984"/>
                </a:cubicBezTo>
                <a:cubicBezTo>
                  <a:pt x="287941" y="1123188"/>
                  <a:pt x="1123093" y="288036"/>
                  <a:pt x="2159794" y="288036"/>
                </a:cubicBezTo>
                <a:cubicBezTo>
                  <a:pt x="3196495" y="288036"/>
                  <a:pt x="4031647" y="1123188"/>
                  <a:pt x="4031647" y="2159984"/>
                </a:cubicBezTo>
                <a:cubicBezTo>
                  <a:pt x="4031647" y="3196781"/>
                  <a:pt x="3196590" y="4031933"/>
                  <a:pt x="2159889" y="4031933"/>
                </a:cubicBezTo>
                <a:cubicBezTo>
                  <a:pt x="1655921" y="4031933"/>
                  <a:pt x="1151954" y="3815906"/>
                  <a:pt x="806387" y="3455956"/>
                </a:cubicBezTo>
                <a:cubicBezTo>
                  <a:pt x="748760" y="3398330"/>
                  <a:pt x="662369" y="3398330"/>
                  <a:pt x="604838" y="3455956"/>
                </a:cubicBezTo>
                <a:cubicBezTo>
                  <a:pt x="547211" y="3513582"/>
                  <a:pt x="547211" y="3599974"/>
                  <a:pt x="604838" y="3657600"/>
                </a:cubicBezTo>
                <a:cubicBezTo>
                  <a:pt x="1008031" y="4075176"/>
                  <a:pt x="1569625" y="4319969"/>
                  <a:pt x="2159984" y="4319969"/>
                </a:cubicBezTo>
                <a:cubicBezTo>
                  <a:pt x="3355086" y="4319969"/>
                  <a:pt x="4319873" y="3355181"/>
                  <a:pt x="4319873" y="2159984"/>
                </a:cubicBezTo>
                <a:cubicBezTo>
                  <a:pt x="4319873" y="964787"/>
                  <a:pt x="3354991" y="0"/>
                  <a:pt x="2159889" y="0"/>
                </a:cubicBezTo>
                <a:close/>
                <a:moveTo>
                  <a:pt x="2158365" y="2688622"/>
                </a:moveTo>
                <a:cubicBezTo>
                  <a:pt x="2263616" y="2688622"/>
                  <a:pt x="2348865" y="2603373"/>
                  <a:pt x="2348865" y="2498122"/>
                </a:cubicBezTo>
                <a:lnTo>
                  <a:pt x="2348865" y="1163288"/>
                </a:lnTo>
                <a:cubicBezTo>
                  <a:pt x="2348865" y="1058037"/>
                  <a:pt x="2263616" y="972788"/>
                  <a:pt x="2158365" y="972788"/>
                </a:cubicBezTo>
                <a:cubicBezTo>
                  <a:pt x="2053114" y="972788"/>
                  <a:pt x="1967865" y="1058037"/>
                  <a:pt x="1967865" y="1163288"/>
                </a:cubicBezTo>
                <a:lnTo>
                  <a:pt x="1967865" y="2498122"/>
                </a:lnTo>
                <a:cubicBezTo>
                  <a:pt x="1967865" y="2603278"/>
                  <a:pt x="2053114" y="2688622"/>
                  <a:pt x="2158365" y="2688622"/>
                </a:cubicBezTo>
                <a:close/>
                <a:moveTo>
                  <a:pt x="2159127" y="3431572"/>
                </a:moveTo>
                <a:cubicBezTo>
                  <a:pt x="2279904" y="3431572"/>
                  <a:pt x="2378202" y="3333274"/>
                  <a:pt x="2378202" y="3212497"/>
                </a:cubicBezTo>
                <a:cubicBezTo>
                  <a:pt x="2378202" y="3091720"/>
                  <a:pt x="2279904" y="2993422"/>
                  <a:pt x="2159127" y="2993422"/>
                </a:cubicBezTo>
                <a:cubicBezTo>
                  <a:pt x="2038350" y="2993422"/>
                  <a:pt x="1940052" y="3091720"/>
                  <a:pt x="1940052" y="3212497"/>
                </a:cubicBezTo>
                <a:cubicBezTo>
                  <a:pt x="1940052" y="3333274"/>
                  <a:pt x="2038255" y="3431572"/>
                  <a:pt x="2159127" y="3431572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7C7DBDC8-475C-466C-839D-2EEE5B8791D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66532" y="4284470"/>
            <a:ext cx="427236" cy="557313"/>
          </a:xfrm>
          <a:prstGeom prst="rect">
            <a:avLst/>
          </a:prstGeom>
        </p:spPr>
      </p:pic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83357A62-AF86-4946-BB44-46C8F3CAB772}"/>
              </a:ext>
            </a:extLst>
          </p:cNvPr>
          <p:cNvSpPr/>
          <p:nvPr/>
        </p:nvSpPr>
        <p:spPr>
          <a:xfrm>
            <a:off x="5344260" y="4295530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360 h 2202768"/>
              <a:gd name="connsiteX2" fmla="*/ 73437 w 2202719"/>
              <a:gd name="connsiteY2" fmla="*/ 1505215 h 2202768"/>
              <a:gd name="connsiteX3" fmla="*/ 168876 w 2202719"/>
              <a:gd name="connsiteY3" fmla="*/ 1549267 h 2202768"/>
              <a:gd name="connsiteX4" fmla="*/ 212928 w 2202719"/>
              <a:gd name="connsiteY4" fmla="*/ 1453828 h 2202768"/>
              <a:gd name="connsiteX5" fmla="*/ 146825 w 2202719"/>
              <a:gd name="connsiteY5" fmla="*/ 1101360 h 2202768"/>
              <a:gd name="connsiteX6" fmla="*/ 1101311 w 2202719"/>
              <a:gd name="connsiteY6" fmla="*/ 146826 h 2202768"/>
              <a:gd name="connsiteX7" fmla="*/ 2055797 w 2202719"/>
              <a:gd name="connsiteY7" fmla="*/ 1101360 h 2202768"/>
              <a:gd name="connsiteX8" fmla="*/ 1101311 w 2202719"/>
              <a:gd name="connsiteY8" fmla="*/ 2055894 h 2202768"/>
              <a:gd name="connsiteX9" fmla="*/ 411140 w 2202719"/>
              <a:gd name="connsiteY9" fmla="*/ 1762195 h 2202768"/>
              <a:gd name="connsiteX10" fmla="*/ 308367 w 2202719"/>
              <a:gd name="connsiteY10" fmla="*/ 1762195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652623 w 2202719"/>
              <a:gd name="connsiteY15" fmla="*/ 1198499 h 2202768"/>
              <a:gd name="connsiteX16" fmla="*/ 1749761 w 2202719"/>
              <a:gd name="connsiteY16" fmla="*/ 1101360 h 2202768"/>
              <a:gd name="connsiteX17" fmla="*/ 1652623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652623 w 2202719"/>
              <a:gd name="connsiteY21" fmla="*/ 1198499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11"/>
                  <a:pt x="0" y="1101360"/>
                </a:cubicBezTo>
                <a:cubicBezTo>
                  <a:pt x="0" y="1240851"/>
                  <a:pt x="29384" y="1380391"/>
                  <a:pt x="73437" y="1505215"/>
                </a:cubicBezTo>
                <a:cubicBezTo>
                  <a:pt x="88105" y="1549267"/>
                  <a:pt x="132157" y="1563935"/>
                  <a:pt x="168876" y="1549267"/>
                </a:cubicBezTo>
                <a:cubicBezTo>
                  <a:pt x="212928" y="1534599"/>
                  <a:pt x="227596" y="1490547"/>
                  <a:pt x="212928" y="1453828"/>
                </a:cubicBezTo>
                <a:cubicBezTo>
                  <a:pt x="168876" y="1343673"/>
                  <a:pt x="146825" y="1226183"/>
                  <a:pt x="146825" y="1101360"/>
                </a:cubicBezTo>
                <a:cubicBezTo>
                  <a:pt x="146825" y="572682"/>
                  <a:pt x="572682" y="146826"/>
                  <a:pt x="1101311" y="146826"/>
                </a:cubicBezTo>
                <a:cubicBezTo>
                  <a:pt x="1629941" y="146826"/>
                  <a:pt x="2055797" y="572682"/>
                  <a:pt x="2055797" y="1101360"/>
                </a:cubicBezTo>
                <a:cubicBezTo>
                  <a:pt x="2055797" y="1630038"/>
                  <a:pt x="1629941" y="2055894"/>
                  <a:pt x="1101311" y="2055894"/>
                </a:cubicBezTo>
                <a:cubicBezTo>
                  <a:pt x="844331" y="2055894"/>
                  <a:pt x="587350" y="1945739"/>
                  <a:pt x="411140" y="1762195"/>
                </a:cubicBezTo>
                <a:cubicBezTo>
                  <a:pt x="381756" y="1732811"/>
                  <a:pt x="337703" y="1732811"/>
                  <a:pt x="308367" y="1762195"/>
                </a:cubicBezTo>
                <a:cubicBezTo>
                  <a:pt x="278983" y="1791580"/>
                  <a:pt x="278983" y="1835632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760" y="0"/>
                  <a:pt x="1101360" y="0"/>
                </a:cubicBezTo>
                <a:close/>
                <a:moveTo>
                  <a:pt x="1652623" y="1198499"/>
                </a:move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1"/>
                  <a:pt x="1706292" y="1004221"/>
                  <a:pt x="1652623" y="1004221"/>
                </a:cubicBezTo>
                <a:lnTo>
                  <a:pt x="550097" y="1004221"/>
                </a:lnTo>
                <a:cubicBezTo>
                  <a:pt x="496428" y="1004221"/>
                  <a:pt x="452958" y="1047691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652623" y="1198499"/>
                </a:ln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7087800F-C7E2-4A90-8B9E-CBBD93815027}"/>
              </a:ext>
            </a:extLst>
          </p:cNvPr>
          <p:cNvSpPr/>
          <p:nvPr/>
        </p:nvSpPr>
        <p:spPr>
          <a:xfrm>
            <a:off x="5344260" y="3323422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408 h 2202768"/>
              <a:gd name="connsiteX2" fmla="*/ 73437 w 2202719"/>
              <a:gd name="connsiteY2" fmla="*/ 1505263 h 2202768"/>
              <a:gd name="connsiteX3" fmla="*/ 168876 w 2202719"/>
              <a:gd name="connsiteY3" fmla="*/ 1549315 h 2202768"/>
              <a:gd name="connsiteX4" fmla="*/ 212928 w 2202719"/>
              <a:gd name="connsiteY4" fmla="*/ 1453876 h 2202768"/>
              <a:gd name="connsiteX5" fmla="*/ 146826 w 2202719"/>
              <a:gd name="connsiteY5" fmla="*/ 1101408 h 2202768"/>
              <a:gd name="connsiteX6" fmla="*/ 1101311 w 2202719"/>
              <a:gd name="connsiteY6" fmla="*/ 146874 h 2202768"/>
              <a:gd name="connsiteX7" fmla="*/ 2055797 w 2202719"/>
              <a:gd name="connsiteY7" fmla="*/ 1101408 h 2202768"/>
              <a:gd name="connsiteX8" fmla="*/ 1101311 w 2202719"/>
              <a:gd name="connsiteY8" fmla="*/ 2055943 h 2202768"/>
              <a:gd name="connsiteX9" fmla="*/ 411140 w 2202719"/>
              <a:gd name="connsiteY9" fmla="*/ 1762244 h 2202768"/>
              <a:gd name="connsiteX10" fmla="*/ 308367 w 2202719"/>
              <a:gd name="connsiteY10" fmla="*/ 1762244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101360 w 2202719"/>
              <a:gd name="connsiteY15" fmla="*/ 452958 h 2202768"/>
              <a:gd name="connsiteX16" fmla="*/ 1004221 w 2202719"/>
              <a:gd name="connsiteY16" fmla="*/ 550097 h 2202768"/>
              <a:gd name="connsiteX17" fmla="*/ 1004221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004221 w 2202719"/>
              <a:gd name="connsiteY21" fmla="*/ 1198499 h 2202768"/>
              <a:gd name="connsiteX22" fmla="*/ 1004221 w 2202719"/>
              <a:gd name="connsiteY22" fmla="*/ 1652623 h 2202768"/>
              <a:gd name="connsiteX23" fmla="*/ 1101360 w 2202719"/>
              <a:gd name="connsiteY23" fmla="*/ 1749761 h 2202768"/>
              <a:gd name="connsiteX24" fmla="*/ 1198499 w 2202719"/>
              <a:gd name="connsiteY24" fmla="*/ 1652623 h 2202768"/>
              <a:gd name="connsiteX25" fmla="*/ 1198499 w 2202719"/>
              <a:gd name="connsiteY25" fmla="*/ 1198499 h 2202768"/>
              <a:gd name="connsiteX26" fmla="*/ 1652623 w 2202719"/>
              <a:gd name="connsiteY26" fmla="*/ 1198499 h 2202768"/>
              <a:gd name="connsiteX27" fmla="*/ 1749761 w 2202719"/>
              <a:gd name="connsiteY27" fmla="*/ 1101360 h 2202768"/>
              <a:gd name="connsiteX28" fmla="*/ 1652623 w 2202719"/>
              <a:gd name="connsiteY28" fmla="*/ 1004221 h 2202768"/>
              <a:gd name="connsiteX29" fmla="*/ 1198499 w 2202719"/>
              <a:gd name="connsiteY29" fmla="*/ 1004221 h 2202768"/>
              <a:gd name="connsiteX30" fmla="*/ 1198499 w 2202719"/>
              <a:gd name="connsiteY30" fmla="*/ 550097 h 2202768"/>
              <a:gd name="connsiteX31" fmla="*/ 1101360 w 2202719"/>
              <a:gd name="connsiteY31" fmla="*/ 452958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59"/>
                  <a:pt x="0" y="1101408"/>
                </a:cubicBezTo>
                <a:cubicBezTo>
                  <a:pt x="0" y="1240900"/>
                  <a:pt x="29385" y="1380440"/>
                  <a:pt x="73437" y="1505263"/>
                </a:cubicBezTo>
                <a:cubicBezTo>
                  <a:pt x="88105" y="1549315"/>
                  <a:pt x="132157" y="1563984"/>
                  <a:pt x="168876" y="1549315"/>
                </a:cubicBezTo>
                <a:cubicBezTo>
                  <a:pt x="212928" y="1534647"/>
                  <a:pt x="227596" y="1490595"/>
                  <a:pt x="212928" y="1453876"/>
                </a:cubicBezTo>
                <a:cubicBezTo>
                  <a:pt x="168876" y="1343721"/>
                  <a:pt x="146826" y="1226232"/>
                  <a:pt x="146826" y="1101408"/>
                </a:cubicBezTo>
                <a:cubicBezTo>
                  <a:pt x="146826" y="572730"/>
                  <a:pt x="572682" y="146874"/>
                  <a:pt x="1101311" y="146874"/>
                </a:cubicBezTo>
                <a:cubicBezTo>
                  <a:pt x="1629941" y="146874"/>
                  <a:pt x="2055797" y="572730"/>
                  <a:pt x="2055797" y="1101408"/>
                </a:cubicBezTo>
                <a:cubicBezTo>
                  <a:pt x="2055797" y="1630086"/>
                  <a:pt x="1629941" y="2055943"/>
                  <a:pt x="1101311" y="2055943"/>
                </a:cubicBezTo>
                <a:cubicBezTo>
                  <a:pt x="844331" y="2055943"/>
                  <a:pt x="587350" y="1945788"/>
                  <a:pt x="411140" y="1762244"/>
                </a:cubicBezTo>
                <a:cubicBezTo>
                  <a:pt x="381756" y="1732859"/>
                  <a:pt x="337703" y="1732859"/>
                  <a:pt x="308367" y="1762244"/>
                </a:cubicBezTo>
                <a:cubicBezTo>
                  <a:pt x="278983" y="1791628"/>
                  <a:pt x="278983" y="1835681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809" y="0"/>
                  <a:pt x="1101360" y="0"/>
                </a:cubicBezTo>
                <a:close/>
                <a:moveTo>
                  <a:pt x="1101360" y="452958"/>
                </a:moveTo>
                <a:cubicBezTo>
                  <a:pt x="1047691" y="452958"/>
                  <a:pt x="1004221" y="496428"/>
                  <a:pt x="1004221" y="550097"/>
                </a:cubicBezTo>
                <a:lnTo>
                  <a:pt x="1004221" y="1004221"/>
                </a:lnTo>
                <a:lnTo>
                  <a:pt x="550097" y="1004221"/>
                </a:lnTo>
                <a:cubicBezTo>
                  <a:pt x="496428" y="1004221"/>
                  <a:pt x="452958" y="1047690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004221" y="1198499"/>
                </a:lnTo>
                <a:lnTo>
                  <a:pt x="1004221" y="1652623"/>
                </a:lnTo>
                <a:cubicBezTo>
                  <a:pt x="1004221" y="1706292"/>
                  <a:pt x="1047691" y="1749761"/>
                  <a:pt x="1101360" y="1749761"/>
                </a:cubicBezTo>
                <a:cubicBezTo>
                  <a:pt x="1155029" y="1749761"/>
                  <a:pt x="1198499" y="1706292"/>
                  <a:pt x="1198499" y="1652623"/>
                </a:cubicBezTo>
                <a:lnTo>
                  <a:pt x="1198499" y="1198499"/>
                </a:lnTo>
                <a:lnTo>
                  <a:pt x="1652623" y="1198499"/>
                </a:ln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0"/>
                  <a:pt x="1706292" y="1004221"/>
                  <a:pt x="1652623" y="1004221"/>
                </a:cubicBezTo>
                <a:lnTo>
                  <a:pt x="1198499" y="1004221"/>
                </a:lnTo>
                <a:lnTo>
                  <a:pt x="1198499" y="550097"/>
                </a:lnTo>
                <a:cubicBezTo>
                  <a:pt x="1198499" y="496476"/>
                  <a:pt x="1155029" y="452958"/>
                  <a:pt x="1101360" y="452958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E0A68371-CD13-40C0-A230-15AF68F93FAE}"/>
              </a:ext>
            </a:extLst>
          </p:cNvPr>
          <p:cNvCxnSpPr>
            <a:cxnSpLocks/>
          </p:cNvCxnSpPr>
          <p:nvPr/>
        </p:nvCxnSpPr>
        <p:spPr>
          <a:xfrm>
            <a:off x="6096000" y="3266982"/>
            <a:ext cx="0" cy="1620180"/>
          </a:xfrm>
          <a:prstGeom prst="line">
            <a:avLst/>
          </a:prstGeom>
          <a:noFill/>
          <a:ln w="38100" cap="rnd">
            <a:solidFill>
              <a:schemeClr val="bg1"/>
            </a:solidFill>
          </a:ln>
        </p:spPr>
      </p:cxn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C14B3F6-3B3C-4AD4-A4B8-8B7F8E9567FE}"/>
              </a:ext>
            </a:extLst>
          </p:cNvPr>
          <p:cNvGrpSpPr/>
          <p:nvPr/>
        </p:nvGrpSpPr>
        <p:grpSpPr>
          <a:xfrm>
            <a:off x="5249948" y="4077072"/>
            <a:ext cx="1692104" cy="0"/>
            <a:chOff x="5267992" y="4077072"/>
            <a:chExt cx="1692104" cy="0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90DB8BE8-3C99-4A77-B13C-65023DCF013D}"/>
                </a:ext>
              </a:extLst>
            </p:cNvPr>
            <p:cNvCxnSpPr>
              <a:cxnSpLocks/>
            </p:cNvCxnSpPr>
            <p:nvPr/>
          </p:nvCxnSpPr>
          <p:spPr>
            <a:xfrm>
              <a:off x="5267992" y="4077072"/>
              <a:ext cx="720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0AD58932-2AFC-4093-829A-E7843DBDE89E}"/>
                </a:ext>
              </a:extLst>
            </p:cNvPr>
            <p:cNvCxnSpPr>
              <a:cxnSpLocks/>
            </p:cNvCxnSpPr>
            <p:nvPr/>
          </p:nvCxnSpPr>
          <p:spPr>
            <a:xfrm>
              <a:off x="6240096" y="4077072"/>
              <a:ext cx="720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63890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179B1097-7868-4E6B-90F7-E3C519CC9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9B95254-E7A4-4DAA-A69E-D26E13D361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D6FAF2D-F333-450F-A20B-1A76D9FBFAC6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</p:txBody>
      </p:sp>
    </p:spTree>
    <p:extLst>
      <p:ext uri="{BB962C8B-B14F-4D97-AF65-F5344CB8AC3E}">
        <p14:creationId xmlns:p14="http://schemas.microsoft.com/office/powerpoint/2010/main" val="3345473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D1CF138B-5251-4DF4-BC6F-B1F931FB2A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90E8745-BDAC-4493-84A1-28977C18FBD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it</a:t>
            </a:r>
            <a:r>
              <a:rPr lang="de-DE" noProof="0" dirty="0"/>
              <a:t>.</a:t>
            </a:r>
          </a:p>
          <a:p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endParaRPr lang="de-DE" dirty="0"/>
          </a:p>
          <a:p>
            <a:pPr lvl="1"/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.</a:t>
            </a:r>
          </a:p>
          <a:p>
            <a:pPr lvl="1"/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3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330586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E423FE5-7002-4988-8D47-C982D124A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107AB0-853F-4218-B21B-DC09CB5EA0D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06B76D4-5272-4ADB-ADD6-7ED1C985EA4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4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069825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71828D-7696-4F29-B8E3-BE43D658D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A109A94-D11C-4B3E-A153-AB860AD4A5B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5</a:t>
            </a:fld>
            <a:endParaRPr lang="de-DE" noProof="0" dirty="0"/>
          </a:p>
        </p:txBody>
      </p:sp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507A3076-130A-6C60-FDFC-9A9038A71FF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99435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E06F55D-42B0-4620-8127-67ED14A5B8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7450DCC-6A2D-40D9-BFEE-3A7322B0ADF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6</a:t>
            </a:fld>
            <a:endParaRPr lang="de-DE" noProof="0" dirty="0"/>
          </a:p>
        </p:txBody>
      </p:sp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F97DF2C2-7D9C-496B-421C-B6EA37D1192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77157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12BE99-9673-4655-8FF8-2A0C4A704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7</a:t>
            </a:fld>
            <a:endParaRPr lang="de-DE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3CF6EB0-FC4D-4AEB-9783-908B4598A8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33FBB4E-7E48-4E1A-9A81-2BAE84840C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13FE7B16-54CF-4E56-8C8F-8A63A0B52C4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D023C8B-3194-443D-8644-9C2B29746E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.</a:t>
            </a:r>
          </a:p>
        </p:txBody>
      </p:sp>
      <p:pic>
        <p:nvPicPr>
          <p:cNvPr id="21" name="Bildplatzhalter 20" descr="Ein Bild, das computer enthält.&#10;&#10;Automatisch generierte Beschreibung">
            <a:extLst>
              <a:ext uri="{FF2B5EF4-FFF2-40B4-BE49-F238E27FC236}">
                <a16:creationId xmlns:a16="http://schemas.microsoft.com/office/drawing/2014/main" id="{1F7484B7-B817-9BE9-B637-47A671EC6DD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6" name="Bildplatzhalter 5" descr="Ein Bild, das draußen, Himmel, Person, Schwimmen enthält.&#10;&#10;Automatisch generierte Beschreibung">
            <a:extLst>
              <a:ext uri="{FF2B5EF4-FFF2-40B4-BE49-F238E27FC236}">
                <a16:creationId xmlns:a16="http://schemas.microsoft.com/office/drawing/2014/main" id="{211FD284-E624-0045-E99C-CB2A89C5AF3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4" name="Bildplatzhalter 13" descr="Ein Bild, das Person, Im Haus, Tisch, Esstisch enthält.&#10;&#10;Automatisch generierte Beschreibung">
            <a:extLst>
              <a:ext uri="{FF2B5EF4-FFF2-40B4-BE49-F238E27FC236}">
                <a16:creationId xmlns:a16="http://schemas.microsoft.com/office/drawing/2014/main" id="{5082178C-6A9D-6D23-8555-FEC1E8731746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8" name="Bildplatzhalter 7" descr="Ein Bild, das Im Haus, Person, gelb enthält.&#10;&#10;Automatisch generierte Beschreibung">
            <a:extLst>
              <a:ext uri="{FF2B5EF4-FFF2-40B4-BE49-F238E27FC236}">
                <a16:creationId xmlns:a16="http://schemas.microsoft.com/office/drawing/2014/main" id="{3A380B08-D397-BFC4-F2C1-42DFDC1EE18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168260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E7B0D907-2CCF-4280-9598-EFEB5A825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8</a:t>
            </a:fld>
            <a:endParaRPr lang="de-DE" noProof="0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23EA112-60B0-4AF8-8D1E-83417F13A3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BB01148-15C8-441E-B507-F6E2D3849B7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pic>
        <p:nvPicPr>
          <p:cNvPr id="5" name="Bildplatzhalter 4" descr="Ein Bild, das draußen, Himmel, Person, Schwimmen enthält.&#10;&#10;Automatisch generierte Beschreibung">
            <a:extLst>
              <a:ext uri="{FF2B5EF4-FFF2-40B4-BE49-F238E27FC236}">
                <a16:creationId xmlns:a16="http://schemas.microsoft.com/office/drawing/2014/main" id="{28A881B7-A3A8-0126-7290-300EB429A0A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B3F2DEE5-9880-59C7-0A16-15DD7DDE7CB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024016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831EC1-3FE6-45A6-B708-BAF58DE13C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9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6E90EE-B051-466D-9C0D-1DB4D836981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4E08103-45EF-4E79-8EBE-6A2A257E41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pic>
        <p:nvPicPr>
          <p:cNvPr id="8" name="Bildplatzhalter 7" descr="Ein Bild, das draußen, Himmel, Person, Schwimmen enthält.&#10;&#10;Automatisch generierte Beschreibung">
            <a:extLst>
              <a:ext uri="{FF2B5EF4-FFF2-40B4-BE49-F238E27FC236}">
                <a16:creationId xmlns:a16="http://schemas.microsoft.com/office/drawing/2014/main" id="{AA1939D0-3663-4DFD-FCC7-58D6C33BCD8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AF5D461A-688A-950C-7505-9E77301D153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675292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Titel zwei- bis vierzeilig lorem ohne Bild lorem ipsu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</p:spTree>
    <p:extLst>
      <p:ext uri="{BB962C8B-B14F-4D97-AF65-F5344CB8AC3E}">
        <p14:creationId xmlns:p14="http://schemas.microsoft.com/office/powerpoint/2010/main" val="4234537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53CA66E-C625-46AE-97A9-C43F8FE46C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20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5080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0DEEC-7DED-43A2-A444-EDE319A40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C47E-B3C3-4F12-B312-9553F3EF3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2250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39B598A-7039-4D6D-8DA9-D651F70916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Ich bin ein Zita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Name Nachname</a:t>
            </a:r>
          </a:p>
          <a:p>
            <a:pPr lvl="2"/>
            <a:r>
              <a:rPr lang="de-DE" dirty="0"/>
              <a:t>Tit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B563C91-AA81-43E1-B063-025DA0388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79F1E8A-D973-46E8-A2F1-3CA20BA2DE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44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 descr="Ein Bild, das draußen, Himmel, Person enthält.&#10;&#10;Automatisch generierte Beschreibung">
            <a:extLst>
              <a:ext uri="{FF2B5EF4-FFF2-40B4-BE49-F238E27FC236}">
                <a16:creationId xmlns:a16="http://schemas.microsoft.com/office/drawing/2014/main" id="{96D1DCD1-CD27-3174-863E-675B7059196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0" name="Titel 19">
            <a:extLst>
              <a:ext uri="{FF2B5EF4-FFF2-40B4-BE49-F238E27FC236}">
                <a16:creationId xmlns:a16="http://schemas.microsoft.com/office/drawing/2014/main" id="{912E13F4-9930-422B-9F14-35F5DFFCE8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mit</a:t>
            </a:r>
            <a:br>
              <a:rPr lang="de-DE" dirty="0"/>
            </a:br>
            <a:r>
              <a:rPr lang="de-DE" dirty="0"/>
              <a:t>Bild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0DEEC-7DED-43A2-A444-EDE319A40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C47E-B3C3-4F12-B312-9553F3EF3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8E98A1CF-E069-4F31-87AA-CD66364006F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Layout für vollflächige Bilder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br>
              <a:rPr lang="de-DE" dirty="0"/>
            </a:br>
            <a:r>
              <a:rPr lang="de-DE" dirty="0"/>
              <a:t>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3317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computer enthält.&#10;&#10;Automatisch generierte Beschreibung">
            <a:extLst>
              <a:ext uri="{FF2B5EF4-FFF2-40B4-BE49-F238E27FC236}">
                <a16:creationId xmlns:a16="http://schemas.microsoft.com/office/drawing/2014/main" id="{21F2215E-640B-59C5-0BDC-7FF71F6224C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A10680B-5CB9-4994-BA75-08321AA6DF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mit Bild</a:t>
            </a:r>
            <a:br>
              <a:rPr lang="de-DE" dirty="0"/>
            </a:b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8D9C989-215B-411B-AC59-92D1DF5D562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Layout für vollflächige Bilder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br>
              <a:rPr lang="de-DE" dirty="0"/>
            </a:br>
            <a:r>
              <a:rPr lang="de-DE" dirty="0"/>
              <a:t>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0DEEC-7DED-43A2-A444-EDE319A40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C47E-B3C3-4F12-B312-9553F3EF3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0453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58E5E82-C403-4D1F-9934-B892155270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Name </a:t>
            </a:r>
            <a:r>
              <a:rPr lang="en-GB" dirty="0" err="1"/>
              <a:t>Nachname</a:t>
            </a:r>
            <a:endParaRPr lang="en-GB" dirty="0"/>
          </a:p>
          <a:p>
            <a:pPr lvl="1"/>
            <a:r>
              <a:rPr lang="en-GB" dirty="0"/>
              <a:t>Title</a:t>
            </a:r>
          </a:p>
          <a:p>
            <a:pPr lvl="1"/>
            <a:r>
              <a:rPr lang="en-GB" dirty="0" err="1"/>
              <a:t>Niederlassung</a:t>
            </a:r>
            <a:br>
              <a:rPr lang="en-GB" dirty="0"/>
            </a:br>
            <a:r>
              <a:rPr lang="en-GB" dirty="0" err="1"/>
              <a:t>Straße</a:t>
            </a:r>
            <a:r>
              <a:rPr lang="en-GB" dirty="0"/>
              <a:t> </a:t>
            </a:r>
            <a:r>
              <a:rPr lang="en-GB" dirty="0" err="1"/>
              <a:t>Hausnummer</a:t>
            </a:r>
            <a:br>
              <a:rPr lang="en-GB" dirty="0"/>
            </a:br>
            <a:r>
              <a:rPr lang="en-GB" dirty="0"/>
              <a:t>PLZ </a:t>
            </a:r>
            <a:r>
              <a:rPr lang="en-GB" dirty="0" err="1"/>
              <a:t>Standort</a:t>
            </a:r>
            <a:br>
              <a:rPr lang="en-GB" dirty="0"/>
            </a:br>
            <a:br>
              <a:rPr lang="en-GB" dirty="0"/>
            </a:br>
            <a:r>
              <a:rPr lang="en-GB" dirty="0" err="1"/>
              <a:t>Telefon</a:t>
            </a:r>
            <a:br>
              <a:rPr lang="en-GB" dirty="0"/>
            </a:br>
            <a:r>
              <a:rPr lang="en-GB" dirty="0"/>
              <a:t>Emai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3EA45BF-4160-41B1-B084-B6D266889A3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Name </a:t>
            </a:r>
            <a:r>
              <a:rPr lang="en-GB" dirty="0" err="1"/>
              <a:t>Nachname</a:t>
            </a:r>
            <a:endParaRPr lang="en-GB" dirty="0"/>
          </a:p>
          <a:p>
            <a:pPr lvl="1"/>
            <a:r>
              <a:rPr lang="en-GB" dirty="0"/>
              <a:t>Title</a:t>
            </a:r>
          </a:p>
          <a:p>
            <a:pPr lvl="1"/>
            <a:r>
              <a:rPr lang="en-GB" dirty="0" err="1"/>
              <a:t>Niederlassung</a:t>
            </a:r>
            <a:br>
              <a:rPr lang="en-GB" dirty="0"/>
            </a:br>
            <a:r>
              <a:rPr lang="en-GB" dirty="0" err="1"/>
              <a:t>Straße</a:t>
            </a:r>
            <a:r>
              <a:rPr lang="en-GB" dirty="0"/>
              <a:t> </a:t>
            </a:r>
            <a:r>
              <a:rPr lang="en-GB" dirty="0" err="1"/>
              <a:t>Hausnummer</a:t>
            </a:r>
            <a:br>
              <a:rPr lang="en-GB" dirty="0"/>
            </a:br>
            <a:r>
              <a:rPr lang="en-GB" dirty="0"/>
              <a:t>PLZ </a:t>
            </a:r>
            <a:r>
              <a:rPr lang="en-GB" dirty="0" err="1"/>
              <a:t>Standort</a:t>
            </a:r>
            <a:br>
              <a:rPr lang="en-GB" dirty="0"/>
            </a:br>
            <a:br>
              <a:rPr lang="en-GB" dirty="0"/>
            </a:br>
            <a:r>
              <a:rPr lang="en-GB" dirty="0" err="1"/>
              <a:t>Telefon</a:t>
            </a:r>
            <a:br>
              <a:rPr lang="en-GB" dirty="0"/>
            </a:br>
            <a:r>
              <a:rPr lang="en-GB" dirty="0"/>
              <a:t>Emai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C29A8C-EE30-45F2-A155-40798D142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noProof="0" dirty="0"/>
              <a:t>Vielen Dank</a:t>
            </a:r>
          </a:p>
        </p:txBody>
      </p:sp>
    </p:spTree>
    <p:extLst>
      <p:ext uri="{BB962C8B-B14F-4D97-AF65-F5344CB8AC3E}">
        <p14:creationId xmlns:p14="http://schemas.microsoft.com/office/powerpoint/2010/main" val="3328482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58E5E82-C403-4D1F-9934-B892155270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Name </a:t>
            </a:r>
            <a:r>
              <a:rPr lang="en-GB" dirty="0" err="1"/>
              <a:t>Nachname</a:t>
            </a:r>
            <a:endParaRPr lang="en-GB" dirty="0"/>
          </a:p>
          <a:p>
            <a:pPr lvl="1"/>
            <a:r>
              <a:rPr lang="en-GB" dirty="0"/>
              <a:t>Title</a:t>
            </a:r>
          </a:p>
          <a:p>
            <a:pPr lvl="1"/>
            <a:r>
              <a:rPr lang="en-GB" dirty="0" err="1"/>
              <a:t>Niederlassung</a:t>
            </a:r>
            <a:br>
              <a:rPr lang="en-GB" dirty="0"/>
            </a:br>
            <a:r>
              <a:rPr lang="en-GB" dirty="0" err="1"/>
              <a:t>Straße</a:t>
            </a:r>
            <a:r>
              <a:rPr lang="en-GB" dirty="0"/>
              <a:t> </a:t>
            </a:r>
            <a:r>
              <a:rPr lang="en-GB" dirty="0" err="1"/>
              <a:t>Hausnummer</a:t>
            </a:r>
            <a:br>
              <a:rPr lang="en-GB" dirty="0"/>
            </a:br>
            <a:r>
              <a:rPr lang="en-GB" dirty="0"/>
              <a:t>PLZ </a:t>
            </a:r>
            <a:r>
              <a:rPr lang="en-GB" dirty="0" err="1"/>
              <a:t>Standort</a:t>
            </a:r>
            <a:br>
              <a:rPr lang="en-GB" dirty="0"/>
            </a:br>
            <a:br>
              <a:rPr lang="en-GB" dirty="0"/>
            </a:br>
            <a:r>
              <a:rPr lang="en-GB" dirty="0" err="1"/>
              <a:t>Telefon</a:t>
            </a:r>
            <a:br>
              <a:rPr lang="en-GB" dirty="0"/>
            </a:br>
            <a:r>
              <a:rPr lang="en-GB" dirty="0"/>
              <a:t>Emai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3EA45BF-4160-41B1-B084-B6D266889A3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Name </a:t>
            </a:r>
            <a:r>
              <a:rPr lang="en-GB" dirty="0" err="1"/>
              <a:t>Nachname</a:t>
            </a:r>
            <a:endParaRPr lang="en-GB" dirty="0"/>
          </a:p>
          <a:p>
            <a:pPr lvl="1"/>
            <a:r>
              <a:rPr lang="en-GB" dirty="0"/>
              <a:t>Title</a:t>
            </a:r>
          </a:p>
          <a:p>
            <a:pPr lvl="1"/>
            <a:r>
              <a:rPr lang="en-GB" dirty="0" err="1"/>
              <a:t>Niederlassung</a:t>
            </a:r>
            <a:br>
              <a:rPr lang="en-GB" dirty="0"/>
            </a:br>
            <a:r>
              <a:rPr lang="en-GB" dirty="0" err="1"/>
              <a:t>Straße</a:t>
            </a:r>
            <a:r>
              <a:rPr lang="en-GB" dirty="0"/>
              <a:t> </a:t>
            </a:r>
            <a:r>
              <a:rPr lang="en-GB" dirty="0" err="1"/>
              <a:t>Hausnummer</a:t>
            </a:r>
            <a:br>
              <a:rPr lang="en-GB" dirty="0"/>
            </a:br>
            <a:r>
              <a:rPr lang="en-GB" dirty="0"/>
              <a:t>PLZ </a:t>
            </a:r>
            <a:r>
              <a:rPr lang="en-GB" dirty="0" err="1"/>
              <a:t>Standort</a:t>
            </a:r>
            <a:br>
              <a:rPr lang="en-GB" dirty="0"/>
            </a:br>
            <a:br>
              <a:rPr lang="en-GB" dirty="0"/>
            </a:br>
            <a:r>
              <a:rPr lang="en-GB" dirty="0" err="1"/>
              <a:t>Telefon</a:t>
            </a:r>
            <a:br>
              <a:rPr lang="en-GB" dirty="0"/>
            </a:br>
            <a:r>
              <a:rPr lang="en-GB" dirty="0"/>
              <a:t>Emai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C29A8C-EE30-45F2-A155-40798D142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noProof="0" dirty="0"/>
              <a:t>Vielen Dank</a:t>
            </a:r>
          </a:p>
        </p:txBody>
      </p:sp>
    </p:spTree>
    <p:extLst>
      <p:ext uri="{BB962C8B-B14F-4D97-AF65-F5344CB8AC3E}">
        <p14:creationId xmlns:p14="http://schemas.microsoft.com/office/powerpoint/2010/main" val="411702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B22FF5-1929-4E63-8DA4-EC221B2B3A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Netze BW</a:t>
            </a:r>
            <a:br>
              <a:rPr lang="de-DE" dirty="0"/>
            </a:br>
            <a:r>
              <a:rPr lang="de-DE" dirty="0"/>
              <a:t>Folienbibliothek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09DEFA3-71C3-4AC8-90D0-C09E171E325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Stand Februar 2023</a:t>
            </a:r>
          </a:p>
        </p:txBody>
      </p:sp>
    </p:spTree>
    <p:extLst>
      <p:ext uri="{BB962C8B-B14F-4D97-AF65-F5344CB8AC3E}">
        <p14:creationId xmlns:p14="http://schemas.microsoft.com/office/powerpoint/2010/main" val="58286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2BF5FF9-76B3-BD4B-90C8-0A2EB0FF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lgemeine Vorgaben 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EB0C7B6-34DD-8A43-B62C-3DE19595DBB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: 18pt Mark OT Medium</a:t>
            </a:r>
          </a:p>
          <a:p>
            <a:pPr lvl="1"/>
            <a:r>
              <a:rPr lang="de-DE" dirty="0"/>
              <a:t>Zweite Ebene: Fließtext 16pt EnBW DIN Pro</a:t>
            </a:r>
          </a:p>
          <a:p>
            <a:pPr lvl="2"/>
            <a:r>
              <a:rPr lang="de-DE" dirty="0"/>
              <a:t>Dritte Ebene: Aufzählung 16pt | Einzug: 0,75/0,75</a:t>
            </a:r>
            <a:br>
              <a:rPr lang="de-DE" dirty="0"/>
            </a:br>
            <a:r>
              <a:rPr lang="de-DE" dirty="0" err="1"/>
              <a:t>Bulletfarbe</a:t>
            </a:r>
            <a:r>
              <a:rPr lang="de-DE" dirty="0"/>
              <a:t> Impuls-Orange</a:t>
            </a:r>
          </a:p>
          <a:p>
            <a:pPr lvl="3"/>
            <a:r>
              <a:rPr lang="de-DE" dirty="0"/>
              <a:t>Vierte Ebene: Aufzählung 16pt | Einzug: 1,5/0,75</a:t>
            </a:r>
            <a:br>
              <a:rPr lang="de-DE" dirty="0"/>
            </a:br>
            <a:r>
              <a:rPr lang="de-DE" dirty="0" err="1"/>
              <a:t>Bulletfarbe</a:t>
            </a:r>
            <a:r>
              <a:rPr lang="de-DE" dirty="0"/>
              <a:t> </a:t>
            </a:r>
            <a:r>
              <a:rPr lang="de-DE" dirty="0" err="1"/>
              <a:t>Warmgrau</a:t>
            </a:r>
            <a:endParaRPr lang="de-DE" dirty="0"/>
          </a:p>
          <a:p>
            <a:pPr lvl="4"/>
            <a:r>
              <a:rPr lang="de-DE" dirty="0"/>
              <a:t>Fünfte Ebene: Aufzählung 16pt | Einzug: 2,25/0,75</a:t>
            </a:r>
            <a:br>
              <a:rPr lang="de-DE" dirty="0"/>
            </a:br>
            <a:r>
              <a:rPr lang="de-DE" dirty="0" err="1"/>
              <a:t>Bulletfarbe</a:t>
            </a:r>
            <a:r>
              <a:rPr lang="de-DE" dirty="0"/>
              <a:t> </a:t>
            </a:r>
            <a:r>
              <a:rPr lang="de-DE" dirty="0" err="1"/>
              <a:t>Warmgrau</a:t>
            </a:r>
            <a:endParaRPr lang="de-DE" dirty="0"/>
          </a:p>
          <a:p>
            <a:r>
              <a:rPr lang="de-DE" dirty="0"/>
              <a:t>Absatzabstand:</a:t>
            </a:r>
          </a:p>
          <a:p>
            <a:pPr lvl="1"/>
            <a:r>
              <a:rPr lang="de-DE" dirty="0"/>
              <a:t>Einfach 1 </a:t>
            </a:r>
          </a:p>
          <a:p>
            <a:r>
              <a:rPr lang="de-DE" dirty="0"/>
              <a:t>Zeilenabstand:</a:t>
            </a:r>
          </a:p>
          <a:p>
            <a:pPr lvl="1"/>
            <a:r>
              <a:rPr lang="de-DE" dirty="0"/>
              <a:t>0/3/6 oder 2/4/6 </a:t>
            </a:r>
          </a:p>
        </p:txBody>
      </p: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A6363213-37F5-4E65-A786-60D43D32F59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/>
              <a:t>Linien:</a:t>
            </a:r>
          </a:p>
          <a:p>
            <a:pPr lvl="1"/>
            <a:r>
              <a:rPr lang="de-DE" dirty="0"/>
              <a:t>Stärke: 3pt | Farbe: </a:t>
            </a:r>
            <a:r>
              <a:rPr lang="de-DE" dirty="0" err="1"/>
              <a:t>Warmgrau</a:t>
            </a:r>
            <a:endParaRPr lang="de-DE" dirty="0"/>
          </a:p>
          <a:p>
            <a:pPr lvl="1"/>
            <a:r>
              <a:rPr lang="de-DE" dirty="0"/>
              <a:t>Stärke: 3/4pt | Farbe: Grau</a:t>
            </a:r>
          </a:p>
          <a:p>
            <a:pPr lvl="1"/>
            <a:r>
              <a:rPr lang="de-DE" dirty="0"/>
              <a:t>Diagrammlinie Achse: 3/4pt | Farbe: Schwarz</a:t>
            </a:r>
          </a:p>
          <a:p>
            <a:r>
              <a:rPr lang="de-DE" dirty="0"/>
              <a:t>Pfeile:</a:t>
            </a:r>
          </a:p>
          <a:p>
            <a:pPr lvl="1"/>
            <a:r>
              <a:rPr lang="de-DE" dirty="0"/>
              <a:t>Offener Pfeil – Stärke: 3pt | Farbe: </a:t>
            </a:r>
            <a:r>
              <a:rPr lang="de-DE" dirty="0" err="1"/>
              <a:t>Warmgrau</a:t>
            </a:r>
            <a:endParaRPr lang="de-DE" dirty="0"/>
          </a:p>
          <a:p>
            <a:pPr lvl="1"/>
            <a:r>
              <a:rPr lang="de-DE" dirty="0"/>
              <a:t>Offener Pfeil – Stärke: 3/4pt | Farbe: Grau</a:t>
            </a:r>
          </a:p>
          <a:p>
            <a:pPr lvl="1"/>
            <a:endParaRPr lang="de-DE" dirty="0"/>
          </a:p>
          <a:p>
            <a:r>
              <a:rPr lang="de-DE" dirty="0"/>
              <a:t>Formen:</a:t>
            </a:r>
          </a:p>
        </p:txBody>
      </p:sp>
      <p:sp>
        <p:nvSpPr>
          <p:cNvPr id="55" name="Fußzeilenplatzhalter 54">
            <a:extLst>
              <a:ext uri="{FF2B5EF4-FFF2-40B4-BE49-F238E27FC236}">
                <a16:creationId xmlns:a16="http://schemas.microsoft.com/office/drawing/2014/main" id="{C55A1A9C-B8AD-4964-A627-A69ECA456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56" name="Foliennummernplatzhalter 55">
            <a:extLst>
              <a:ext uri="{FF2B5EF4-FFF2-40B4-BE49-F238E27FC236}">
                <a16:creationId xmlns:a16="http://schemas.microsoft.com/office/drawing/2014/main" id="{86F63E9B-2C8D-4073-B961-5C45A32D9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28</a:t>
            </a:fld>
            <a:endParaRPr lang="de-DE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41F4BFE-B7CF-4EC1-B48C-E6D3DB10563B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3F68B6E9-EFED-40B0-8AEC-1DD4E5585BC2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CAFE2200-8B9D-460A-91AC-5912DEF1FC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EAA32C73-CEE6-4495-AFF7-D221CF844CB8}"/>
              </a:ext>
            </a:extLst>
          </p:cNvPr>
          <p:cNvGrpSpPr/>
          <p:nvPr/>
        </p:nvGrpSpPr>
        <p:grpSpPr>
          <a:xfrm>
            <a:off x="10704502" y="2289572"/>
            <a:ext cx="1079507" cy="1499468"/>
            <a:chOff x="10560496" y="2289572"/>
            <a:chExt cx="1223525" cy="1499468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3937E535-27C2-4C9B-A634-2B8A85F1DB95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496" y="3501008"/>
              <a:ext cx="1223517" cy="0"/>
            </a:xfrm>
            <a:prstGeom prst="line">
              <a:avLst/>
            </a:prstGeom>
            <a:ln w="57150" cap="rnd">
              <a:round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0332F21-F927-40E4-90FA-7D5A80C6C2E3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496" y="3789040"/>
              <a:ext cx="1223517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AF7830C4-AC7E-41BC-85A2-C7FE29E8E20A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496" y="2289572"/>
              <a:ext cx="1223517" cy="0"/>
            </a:xfrm>
            <a:prstGeom prst="line">
              <a:avLst/>
            </a:prstGeom>
            <a:ln w="57150" cap="rnd"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4056914C-7E63-4E09-B83A-81D438ADFF78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496" y="2591383"/>
              <a:ext cx="1223517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C769304C-D8A6-4E0D-9695-6D35B598DA8F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504" y="2893194"/>
              <a:ext cx="1223517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Freeform 5">
            <a:extLst>
              <a:ext uri="{FF2B5EF4-FFF2-40B4-BE49-F238E27FC236}">
                <a16:creationId xmlns:a16="http://schemas.microsoft.com/office/drawing/2014/main" id="{646AFD9B-24A7-45C8-9554-5C627A343F6A}"/>
              </a:ext>
            </a:extLst>
          </p:cNvPr>
          <p:cNvSpPr>
            <a:spLocks noChangeAspect="1"/>
          </p:cNvSpPr>
          <p:nvPr/>
        </p:nvSpPr>
        <p:spPr bwMode="auto">
          <a:xfrm>
            <a:off x="6392078" y="4627976"/>
            <a:ext cx="272469" cy="385200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8" name="Freeform 5">
            <a:extLst>
              <a:ext uri="{FF2B5EF4-FFF2-40B4-BE49-F238E27FC236}">
                <a16:creationId xmlns:a16="http://schemas.microsoft.com/office/drawing/2014/main" id="{44F3D15C-68F9-4F11-8677-9CD2D5137534}"/>
              </a:ext>
            </a:extLst>
          </p:cNvPr>
          <p:cNvSpPr>
            <a:spLocks noChangeAspect="1"/>
          </p:cNvSpPr>
          <p:nvPr/>
        </p:nvSpPr>
        <p:spPr bwMode="auto">
          <a:xfrm>
            <a:off x="6922451" y="4627976"/>
            <a:ext cx="272469" cy="385200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51" name="Freihandform: Form 50">
            <a:extLst>
              <a:ext uri="{FF2B5EF4-FFF2-40B4-BE49-F238E27FC236}">
                <a16:creationId xmlns:a16="http://schemas.microsoft.com/office/drawing/2014/main" id="{35CFB277-8F96-4376-BFAC-BDD5173C6DCD}"/>
              </a:ext>
            </a:extLst>
          </p:cNvPr>
          <p:cNvSpPr/>
          <p:nvPr/>
        </p:nvSpPr>
        <p:spPr>
          <a:xfrm rot="16200000">
            <a:off x="6408285" y="5157192"/>
            <a:ext cx="360040" cy="360040"/>
          </a:xfrm>
          <a:custGeom>
            <a:avLst/>
            <a:gdLst>
              <a:gd name="connsiteX0" fmla="*/ 360040 w 360040"/>
              <a:gd name="connsiteY0" fmla="*/ 180020 h 360040"/>
              <a:gd name="connsiteX1" fmla="*/ 306040 w 360040"/>
              <a:gd name="connsiteY1" fmla="*/ 234020 h 360040"/>
              <a:gd name="connsiteX2" fmla="*/ 234019 w 360040"/>
              <a:gd name="connsiteY2" fmla="*/ 234020 h 360040"/>
              <a:gd name="connsiteX3" fmla="*/ 234019 w 360040"/>
              <a:gd name="connsiteY3" fmla="*/ 306040 h 360040"/>
              <a:gd name="connsiteX4" fmla="*/ 180019 w 360040"/>
              <a:gd name="connsiteY4" fmla="*/ 360040 h 360040"/>
              <a:gd name="connsiteX5" fmla="*/ 126019 w 360040"/>
              <a:gd name="connsiteY5" fmla="*/ 306040 h 360040"/>
              <a:gd name="connsiteX6" fmla="*/ 126019 w 360040"/>
              <a:gd name="connsiteY6" fmla="*/ 234020 h 360040"/>
              <a:gd name="connsiteX7" fmla="*/ 54000 w 360040"/>
              <a:gd name="connsiteY7" fmla="*/ 234020 h 360040"/>
              <a:gd name="connsiteX8" fmla="*/ 0 w 360040"/>
              <a:gd name="connsiteY8" fmla="*/ 180020 h 360040"/>
              <a:gd name="connsiteX9" fmla="*/ 54000 w 360040"/>
              <a:gd name="connsiteY9" fmla="*/ 126020 h 360040"/>
              <a:gd name="connsiteX10" fmla="*/ 126019 w 360040"/>
              <a:gd name="connsiteY10" fmla="*/ 126020 h 360040"/>
              <a:gd name="connsiteX11" fmla="*/ 126019 w 360040"/>
              <a:gd name="connsiteY11" fmla="*/ 54000 h 360040"/>
              <a:gd name="connsiteX12" fmla="*/ 180019 w 360040"/>
              <a:gd name="connsiteY12" fmla="*/ 0 h 360040"/>
              <a:gd name="connsiteX13" fmla="*/ 234019 w 360040"/>
              <a:gd name="connsiteY13" fmla="*/ 54000 h 360040"/>
              <a:gd name="connsiteX14" fmla="*/ 234019 w 360040"/>
              <a:gd name="connsiteY14" fmla="*/ 126020 h 360040"/>
              <a:gd name="connsiteX15" fmla="*/ 306040 w 360040"/>
              <a:gd name="connsiteY15" fmla="*/ 126020 h 360040"/>
              <a:gd name="connsiteX16" fmla="*/ 360040 w 360040"/>
              <a:gd name="connsiteY16" fmla="*/ 18002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0040" h="360040">
                <a:moveTo>
                  <a:pt x="360040" y="180020"/>
                </a:moveTo>
                <a:cubicBezTo>
                  <a:pt x="360040" y="209843"/>
                  <a:pt x="335863" y="234020"/>
                  <a:pt x="306040" y="234020"/>
                </a:cubicBezTo>
                <a:lnTo>
                  <a:pt x="234019" y="234020"/>
                </a:lnTo>
                <a:lnTo>
                  <a:pt x="234019" y="306040"/>
                </a:lnTo>
                <a:cubicBezTo>
                  <a:pt x="234019" y="335863"/>
                  <a:pt x="209842" y="360040"/>
                  <a:pt x="180019" y="360040"/>
                </a:cubicBezTo>
                <a:cubicBezTo>
                  <a:pt x="150196" y="360040"/>
                  <a:pt x="126019" y="335863"/>
                  <a:pt x="126019" y="306040"/>
                </a:cubicBezTo>
                <a:lnTo>
                  <a:pt x="126019" y="234020"/>
                </a:lnTo>
                <a:lnTo>
                  <a:pt x="54000" y="234020"/>
                </a:lnTo>
                <a:cubicBezTo>
                  <a:pt x="24177" y="234020"/>
                  <a:pt x="0" y="209843"/>
                  <a:pt x="0" y="180020"/>
                </a:cubicBezTo>
                <a:cubicBezTo>
                  <a:pt x="0" y="150197"/>
                  <a:pt x="24177" y="126020"/>
                  <a:pt x="54000" y="126020"/>
                </a:cubicBezTo>
                <a:lnTo>
                  <a:pt x="126019" y="126020"/>
                </a:lnTo>
                <a:lnTo>
                  <a:pt x="126019" y="54000"/>
                </a:lnTo>
                <a:cubicBezTo>
                  <a:pt x="126019" y="24177"/>
                  <a:pt x="150196" y="0"/>
                  <a:pt x="180019" y="0"/>
                </a:cubicBezTo>
                <a:cubicBezTo>
                  <a:pt x="209842" y="0"/>
                  <a:pt x="234019" y="24177"/>
                  <a:pt x="234019" y="54000"/>
                </a:cubicBezTo>
                <a:lnTo>
                  <a:pt x="234019" y="126020"/>
                </a:lnTo>
                <a:lnTo>
                  <a:pt x="306040" y="126020"/>
                </a:lnTo>
                <a:cubicBezTo>
                  <a:pt x="335863" y="126020"/>
                  <a:pt x="360040" y="150197"/>
                  <a:pt x="360040" y="1800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2" name="Freihandform: Form 51">
            <a:extLst>
              <a:ext uri="{FF2B5EF4-FFF2-40B4-BE49-F238E27FC236}">
                <a16:creationId xmlns:a16="http://schemas.microsoft.com/office/drawing/2014/main" id="{82C333F2-66A3-4A4A-BF34-AB68E0DDA30D}"/>
              </a:ext>
            </a:extLst>
          </p:cNvPr>
          <p:cNvSpPr/>
          <p:nvPr/>
        </p:nvSpPr>
        <p:spPr>
          <a:xfrm rot="16200000">
            <a:off x="7071242" y="5157191"/>
            <a:ext cx="270011" cy="360040"/>
          </a:xfrm>
          <a:custGeom>
            <a:avLst/>
            <a:gdLst>
              <a:gd name="connsiteX0" fmla="*/ 108000 w 270011"/>
              <a:gd name="connsiteY0" fmla="*/ 54000 h 360040"/>
              <a:gd name="connsiteX1" fmla="*/ 108000 w 270011"/>
              <a:gd name="connsiteY1" fmla="*/ 306040 h 360040"/>
              <a:gd name="connsiteX2" fmla="*/ 54000 w 270011"/>
              <a:gd name="connsiteY2" fmla="*/ 360040 h 360040"/>
              <a:gd name="connsiteX3" fmla="*/ 0 w 270011"/>
              <a:gd name="connsiteY3" fmla="*/ 306040 h 360040"/>
              <a:gd name="connsiteX4" fmla="*/ 0 w 270011"/>
              <a:gd name="connsiteY4" fmla="*/ 54000 h 360040"/>
              <a:gd name="connsiteX5" fmla="*/ 54000 w 270011"/>
              <a:gd name="connsiteY5" fmla="*/ 0 h 360040"/>
              <a:gd name="connsiteX6" fmla="*/ 108000 w 270011"/>
              <a:gd name="connsiteY6" fmla="*/ 54000 h 360040"/>
              <a:gd name="connsiteX7" fmla="*/ 270011 w 270011"/>
              <a:gd name="connsiteY7" fmla="*/ 54000 h 360040"/>
              <a:gd name="connsiteX8" fmla="*/ 270011 w 270011"/>
              <a:gd name="connsiteY8" fmla="*/ 306040 h 360040"/>
              <a:gd name="connsiteX9" fmla="*/ 216011 w 270011"/>
              <a:gd name="connsiteY9" fmla="*/ 360040 h 360040"/>
              <a:gd name="connsiteX10" fmla="*/ 162011 w 270011"/>
              <a:gd name="connsiteY10" fmla="*/ 306040 h 360040"/>
              <a:gd name="connsiteX11" fmla="*/ 162011 w 270011"/>
              <a:gd name="connsiteY11" fmla="*/ 54000 h 360040"/>
              <a:gd name="connsiteX12" fmla="*/ 216011 w 270011"/>
              <a:gd name="connsiteY12" fmla="*/ 0 h 360040"/>
              <a:gd name="connsiteX13" fmla="*/ 270011 w 270011"/>
              <a:gd name="connsiteY13" fmla="*/ 5400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70011" h="360040">
                <a:moveTo>
                  <a:pt x="108000" y="54000"/>
                </a:moveTo>
                <a:lnTo>
                  <a:pt x="108000" y="306040"/>
                </a:lnTo>
                <a:cubicBezTo>
                  <a:pt x="108000" y="335863"/>
                  <a:pt x="83823" y="360040"/>
                  <a:pt x="54000" y="360040"/>
                </a:cubicBezTo>
                <a:cubicBezTo>
                  <a:pt x="24177" y="360040"/>
                  <a:pt x="0" y="335863"/>
                  <a:pt x="0" y="306040"/>
                </a:cubicBezTo>
                <a:lnTo>
                  <a:pt x="0" y="54000"/>
                </a:lnTo>
                <a:cubicBezTo>
                  <a:pt x="0" y="24177"/>
                  <a:pt x="24177" y="0"/>
                  <a:pt x="54000" y="0"/>
                </a:cubicBezTo>
                <a:cubicBezTo>
                  <a:pt x="83823" y="0"/>
                  <a:pt x="108000" y="24177"/>
                  <a:pt x="108000" y="54000"/>
                </a:cubicBezTo>
                <a:close/>
                <a:moveTo>
                  <a:pt x="270011" y="54000"/>
                </a:moveTo>
                <a:lnTo>
                  <a:pt x="270011" y="306040"/>
                </a:lnTo>
                <a:cubicBezTo>
                  <a:pt x="270011" y="335863"/>
                  <a:pt x="245834" y="360040"/>
                  <a:pt x="216011" y="360040"/>
                </a:cubicBezTo>
                <a:cubicBezTo>
                  <a:pt x="186188" y="360040"/>
                  <a:pt x="162011" y="335863"/>
                  <a:pt x="162011" y="306040"/>
                </a:cubicBezTo>
                <a:lnTo>
                  <a:pt x="162011" y="54000"/>
                </a:lnTo>
                <a:cubicBezTo>
                  <a:pt x="162011" y="24177"/>
                  <a:pt x="186188" y="0"/>
                  <a:pt x="216011" y="0"/>
                </a:cubicBezTo>
                <a:cubicBezTo>
                  <a:pt x="245834" y="0"/>
                  <a:pt x="270011" y="24177"/>
                  <a:pt x="270011" y="540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9" name="Rechteck: abgerundete Ecken 48">
            <a:extLst>
              <a:ext uri="{FF2B5EF4-FFF2-40B4-BE49-F238E27FC236}">
                <a16:creationId xmlns:a16="http://schemas.microsoft.com/office/drawing/2014/main" id="{9DA8F80B-FE76-4E44-9200-B1F7D0304551}"/>
              </a:ext>
            </a:extLst>
          </p:cNvPr>
          <p:cNvSpPr/>
          <p:nvPr/>
        </p:nvSpPr>
        <p:spPr>
          <a:xfrm rot="16200000">
            <a:off x="7770192" y="5157191"/>
            <a:ext cx="108000" cy="3600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A81A6C08-719F-4EFA-B7CD-56A10F1E1966}"/>
              </a:ext>
            </a:extLst>
          </p:cNvPr>
          <p:cNvSpPr txBox="1"/>
          <p:nvPr/>
        </p:nvSpPr>
        <p:spPr>
          <a:xfrm>
            <a:off x="1235460" y="6273800"/>
            <a:ext cx="10548553" cy="179388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* Quelle</a:t>
            </a:r>
            <a:endParaRPr lang="de-DE" sz="1000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8E71C660-E982-4637-B1D2-F3919DA6BD90}"/>
              </a:ext>
            </a:extLst>
          </p:cNvPr>
          <p:cNvSpPr/>
          <p:nvPr/>
        </p:nvSpPr>
        <p:spPr>
          <a:xfrm>
            <a:off x="9984003" y="4653136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408 h 2202768"/>
              <a:gd name="connsiteX2" fmla="*/ 73437 w 2202719"/>
              <a:gd name="connsiteY2" fmla="*/ 1505263 h 2202768"/>
              <a:gd name="connsiteX3" fmla="*/ 168876 w 2202719"/>
              <a:gd name="connsiteY3" fmla="*/ 1549315 h 2202768"/>
              <a:gd name="connsiteX4" fmla="*/ 212928 w 2202719"/>
              <a:gd name="connsiteY4" fmla="*/ 1453876 h 2202768"/>
              <a:gd name="connsiteX5" fmla="*/ 146826 w 2202719"/>
              <a:gd name="connsiteY5" fmla="*/ 1101408 h 2202768"/>
              <a:gd name="connsiteX6" fmla="*/ 1101311 w 2202719"/>
              <a:gd name="connsiteY6" fmla="*/ 146874 h 2202768"/>
              <a:gd name="connsiteX7" fmla="*/ 2055797 w 2202719"/>
              <a:gd name="connsiteY7" fmla="*/ 1101408 h 2202768"/>
              <a:gd name="connsiteX8" fmla="*/ 1101311 w 2202719"/>
              <a:gd name="connsiteY8" fmla="*/ 2055943 h 2202768"/>
              <a:gd name="connsiteX9" fmla="*/ 411140 w 2202719"/>
              <a:gd name="connsiteY9" fmla="*/ 1762244 h 2202768"/>
              <a:gd name="connsiteX10" fmla="*/ 308367 w 2202719"/>
              <a:gd name="connsiteY10" fmla="*/ 1762244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101360 w 2202719"/>
              <a:gd name="connsiteY15" fmla="*/ 452958 h 2202768"/>
              <a:gd name="connsiteX16" fmla="*/ 1004221 w 2202719"/>
              <a:gd name="connsiteY16" fmla="*/ 550097 h 2202768"/>
              <a:gd name="connsiteX17" fmla="*/ 1004221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004221 w 2202719"/>
              <a:gd name="connsiteY21" fmla="*/ 1198499 h 2202768"/>
              <a:gd name="connsiteX22" fmla="*/ 1004221 w 2202719"/>
              <a:gd name="connsiteY22" fmla="*/ 1652623 h 2202768"/>
              <a:gd name="connsiteX23" fmla="*/ 1101360 w 2202719"/>
              <a:gd name="connsiteY23" fmla="*/ 1749761 h 2202768"/>
              <a:gd name="connsiteX24" fmla="*/ 1198499 w 2202719"/>
              <a:gd name="connsiteY24" fmla="*/ 1652623 h 2202768"/>
              <a:gd name="connsiteX25" fmla="*/ 1198499 w 2202719"/>
              <a:gd name="connsiteY25" fmla="*/ 1198499 h 2202768"/>
              <a:gd name="connsiteX26" fmla="*/ 1652623 w 2202719"/>
              <a:gd name="connsiteY26" fmla="*/ 1198499 h 2202768"/>
              <a:gd name="connsiteX27" fmla="*/ 1749761 w 2202719"/>
              <a:gd name="connsiteY27" fmla="*/ 1101360 h 2202768"/>
              <a:gd name="connsiteX28" fmla="*/ 1652623 w 2202719"/>
              <a:gd name="connsiteY28" fmla="*/ 1004221 h 2202768"/>
              <a:gd name="connsiteX29" fmla="*/ 1198499 w 2202719"/>
              <a:gd name="connsiteY29" fmla="*/ 1004221 h 2202768"/>
              <a:gd name="connsiteX30" fmla="*/ 1198499 w 2202719"/>
              <a:gd name="connsiteY30" fmla="*/ 550097 h 2202768"/>
              <a:gd name="connsiteX31" fmla="*/ 1101360 w 2202719"/>
              <a:gd name="connsiteY31" fmla="*/ 452958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59"/>
                  <a:pt x="0" y="1101408"/>
                </a:cubicBezTo>
                <a:cubicBezTo>
                  <a:pt x="0" y="1240900"/>
                  <a:pt x="29385" y="1380440"/>
                  <a:pt x="73437" y="1505263"/>
                </a:cubicBezTo>
                <a:cubicBezTo>
                  <a:pt x="88105" y="1549315"/>
                  <a:pt x="132157" y="1563984"/>
                  <a:pt x="168876" y="1549315"/>
                </a:cubicBezTo>
                <a:cubicBezTo>
                  <a:pt x="212928" y="1534647"/>
                  <a:pt x="227596" y="1490595"/>
                  <a:pt x="212928" y="1453876"/>
                </a:cubicBezTo>
                <a:cubicBezTo>
                  <a:pt x="168876" y="1343721"/>
                  <a:pt x="146826" y="1226232"/>
                  <a:pt x="146826" y="1101408"/>
                </a:cubicBezTo>
                <a:cubicBezTo>
                  <a:pt x="146826" y="572730"/>
                  <a:pt x="572682" y="146874"/>
                  <a:pt x="1101311" y="146874"/>
                </a:cubicBezTo>
                <a:cubicBezTo>
                  <a:pt x="1629941" y="146874"/>
                  <a:pt x="2055797" y="572730"/>
                  <a:pt x="2055797" y="1101408"/>
                </a:cubicBezTo>
                <a:cubicBezTo>
                  <a:pt x="2055797" y="1630086"/>
                  <a:pt x="1629941" y="2055943"/>
                  <a:pt x="1101311" y="2055943"/>
                </a:cubicBezTo>
                <a:cubicBezTo>
                  <a:pt x="844331" y="2055943"/>
                  <a:pt x="587350" y="1945788"/>
                  <a:pt x="411140" y="1762244"/>
                </a:cubicBezTo>
                <a:cubicBezTo>
                  <a:pt x="381756" y="1732859"/>
                  <a:pt x="337703" y="1732859"/>
                  <a:pt x="308367" y="1762244"/>
                </a:cubicBezTo>
                <a:cubicBezTo>
                  <a:pt x="278983" y="1791628"/>
                  <a:pt x="278983" y="1835681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809" y="0"/>
                  <a:pt x="1101360" y="0"/>
                </a:cubicBezTo>
                <a:close/>
                <a:moveTo>
                  <a:pt x="1101360" y="452958"/>
                </a:moveTo>
                <a:cubicBezTo>
                  <a:pt x="1047691" y="452958"/>
                  <a:pt x="1004221" y="496428"/>
                  <a:pt x="1004221" y="550097"/>
                </a:cubicBezTo>
                <a:lnTo>
                  <a:pt x="1004221" y="1004221"/>
                </a:lnTo>
                <a:lnTo>
                  <a:pt x="550097" y="1004221"/>
                </a:lnTo>
                <a:cubicBezTo>
                  <a:pt x="496428" y="1004221"/>
                  <a:pt x="452958" y="1047690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004221" y="1198499"/>
                </a:lnTo>
                <a:lnTo>
                  <a:pt x="1004221" y="1652623"/>
                </a:lnTo>
                <a:cubicBezTo>
                  <a:pt x="1004221" y="1706292"/>
                  <a:pt x="1047691" y="1749761"/>
                  <a:pt x="1101360" y="1749761"/>
                </a:cubicBezTo>
                <a:cubicBezTo>
                  <a:pt x="1155029" y="1749761"/>
                  <a:pt x="1198499" y="1706292"/>
                  <a:pt x="1198499" y="1652623"/>
                </a:cubicBezTo>
                <a:lnTo>
                  <a:pt x="1198499" y="1198499"/>
                </a:lnTo>
                <a:lnTo>
                  <a:pt x="1652623" y="1198499"/>
                </a:ln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0"/>
                  <a:pt x="1706292" y="1004221"/>
                  <a:pt x="1652623" y="1004221"/>
                </a:cubicBezTo>
                <a:lnTo>
                  <a:pt x="1198499" y="1004221"/>
                </a:lnTo>
                <a:lnTo>
                  <a:pt x="1198499" y="550097"/>
                </a:lnTo>
                <a:cubicBezTo>
                  <a:pt x="1198499" y="496476"/>
                  <a:pt x="1155029" y="452958"/>
                  <a:pt x="1101360" y="452958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D559DDC8-4584-4D46-9313-3A97CE401152}"/>
              </a:ext>
            </a:extLst>
          </p:cNvPr>
          <p:cNvSpPr/>
          <p:nvPr/>
        </p:nvSpPr>
        <p:spPr>
          <a:xfrm>
            <a:off x="11249439" y="4653136"/>
            <a:ext cx="535193" cy="535193"/>
          </a:xfrm>
          <a:custGeom>
            <a:avLst/>
            <a:gdLst>
              <a:gd name="connsiteX0" fmla="*/ 1101360 w 2202768"/>
              <a:gd name="connsiteY0" fmla="*/ 0 h 2202768"/>
              <a:gd name="connsiteX1" fmla="*/ 0 w 2202768"/>
              <a:gd name="connsiteY1" fmla="*/ 1101408 h 2202768"/>
              <a:gd name="connsiteX2" fmla="*/ 73437 w 2202768"/>
              <a:gd name="connsiteY2" fmla="*/ 1505263 h 2202768"/>
              <a:gd name="connsiteX3" fmla="*/ 168876 w 2202768"/>
              <a:gd name="connsiteY3" fmla="*/ 1549316 h 2202768"/>
              <a:gd name="connsiteX4" fmla="*/ 212928 w 2202768"/>
              <a:gd name="connsiteY4" fmla="*/ 1453877 h 2202768"/>
              <a:gd name="connsiteX5" fmla="*/ 146825 w 2202768"/>
              <a:gd name="connsiteY5" fmla="*/ 1101408 h 2202768"/>
              <a:gd name="connsiteX6" fmla="*/ 1101311 w 2202768"/>
              <a:gd name="connsiteY6" fmla="*/ 146874 h 2202768"/>
              <a:gd name="connsiteX7" fmla="*/ 2055797 w 2202768"/>
              <a:gd name="connsiteY7" fmla="*/ 1101408 h 2202768"/>
              <a:gd name="connsiteX8" fmla="*/ 1101360 w 2202768"/>
              <a:gd name="connsiteY8" fmla="*/ 2055943 h 2202768"/>
              <a:gd name="connsiteX9" fmla="*/ 411189 w 2202768"/>
              <a:gd name="connsiteY9" fmla="*/ 1762244 h 2202768"/>
              <a:gd name="connsiteX10" fmla="*/ 308416 w 2202768"/>
              <a:gd name="connsiteY10" fmla="*/ 1762244 h 2202768"/>
              <a:gd name="connsiteX11" fmla="*/ 308416 w 2202768"/>
              <a:gd name="connsiteY11" fmla="*/ 1865017 h 2202768"/>
              <a:gd name="connsiteX12" fmla="*/ 1101408 w 2202768"/>
              <a:gd name="connsiteY12" fmla="*/ 2202768 h 2202768"/>
              <a:gd name="connsiteX13" fmla="*/ 2202768 w 2202768"/>
              <a:gd name="connsiteY13" fmla="*/ 1101360 h 2202768"/>
              <a:gd name="connsiteX14" fmla="*/ 1101360 w 2202768"/>
              <a:gd name="connsiteY14" fmla="*/ 0 h 2202768"/>
              <a:gd name="connsiteX15" fmla="*/ 550097 w 2202768"/>
              <a:gd name="connsiteY15" fmla="*/ 1364218 h 2202768"/>
              <a:gd name="connsiteX16" fmla="*/ 1652623 w 2202768"/>
              <a:gd name="connsiteY16" fmla="*/ 1364218 h 2202768"/>
              <a:gd name="connsiteX17" fmla="*/ 1749761 w 2202768"/>
              <a:gd name="connsiteY17" fmla="*/ 1267079 h 2202768"/>
              <a:gd name="connsiteX18" fmla="*/ 1652623 w 2202768"/>
              <a:gd name="connsiteY18" fmla="*/ 1169940 h 2202768"/>
              <a:gd name="connsiteX19" fmla="*/ 550097 w 2202768"/>
              <a:gd name="connsiteY19" fmla="*/ 1169940 h 2202768"/>
              <a:gd name="connsiteX20" fmla="*/ 452958 w 2202768"/>
              <a:gd name="connsiteY20" fmla="*/ 1267079 h 2202768"/>
              <a:gd name="connsiteX21" fmla="*/ 550097 w 2202768"/>
              <a:gd name="connsiteY21" fmla="*/ 1364218 h 2202768"/>
              <a:gd name="connsiteX22" fmla="*/ 550097 w 2202768"/>
              <a:gd name="connsiteY22" fmla="*/ 1032877 h 2202768"/>
              <a:gd name="connsiteX23" fmla="*/ 1652623 w 2202768"/>
              <a:gd name="connsiteY23" fmla="*/ 1032877 h 2202768"/>
              <a:gd name="connsiteX24" fmla="*/ 1749761 w 2202768"/>
              <a:gd name="connsiteY24" fmla="*/ 935738 h 2202768"/>
              <a:gd name="connsiteX25" fmla="*/ 1652623 w 2202768"/>
              <a:gd name="connsiteY25" fmla="*/ 838599 h 2202768"/>
              <a:gd name="connsiteX26" fmla="*/ 550097 w 2202768"/>
              <a:gd name="connsiteY26" fmla="*/ 838599 h 2202768"/>
              <a:gd name="connsiteX27" fmla="*/ 452958 w 2202768"/>
              <a:gd name="connsiteY27" fmla="*/ 935738 h 2202768"/>
              <a:gd name="connsiteX28" fmla="*/ 550097 w 2202768"/>
              <a:gd name="connsiteY28" fmla="*/ 1032877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202768" h="2202768">
                <a:moveTo>
                  <a:pt x="1101360" y="0"/>
                </a:moveTo>
                <a:cubicBezTo>
                  <a:pt x="491960" y="0"/>
                  <a:pt x="0" y="491960"/>
                  <a:pt x="0" y="1101408"/>
                </a:cubicBezTo>
                <a:cubicBezTo>
                  <a:pt x="0" y="1240900"/>
                  <a:pt x="29385" y="1380440"/>
                  <a:pt x="73437" y="1505263"/>
                </a:cubicBezTo>
                <a:cubicBezTo>
                  <a:pt x="88105" y="1549316"/>
                  <a:pt x="132157" y="1563983"/>
                  <a:pt x="168876" y="1549316"/>
                </a:cubicBezTo>
                <a:cubicBezTo>
                  <a:pt x="212928" y="1534648"/>
                  <a:pt x="227596" y="1490595"/>
                  <a:pt x="212928" y="1453877"/>
                </a:cubicBezTo>
                <a:cubicBezTo>
                  <a:pt x="168876" y="1343721"/>
                  <a:pt x="146825" y="1226232"/>
                  <a:pt x="146825" y="1101408"/>
                </a:cubicBezTo>
                <a:cubicBezTo>
                  <a:pt x="146825" y="572730"/>
                  <a:pt x="572682" y="146874"/>
                  <a:pt x="1101311" y="146874"/>
                </a:cubicBezTo>
                <a:cubicBezTo>
                  <a:pt x="1629941" y="146874"/>
                  <a:pt x="2055797" y="572730"/>
                  <a:pt x="2055797" y="1101408"/>
                </a:cubicBezTo>
                <a:cubicBezTo>
                  <a:pt x="2055797" y="1630086"/>
                  <a:pt x="1629989" y="2055943"/>
                  <a:pt x="1101360" y="2055943"/>
                </a:cubicBezTo>
                <a:cubicBezTo>
                  <a:pt x="844379" y="2055943"/>
                  <a:pt x="587398" y="1945788"/>
                  <a:pt x="411189" y="1762244"/>
                </a:cubicBezTo>
                <a:cubicBezTo>
                  <a:pt x="381804" y="1732859"/>
                  <a:pt x="337752" y="1732859"/>
                  <a:pt x="308416" y="1762244"/>
                </a:cubicBezTo>
                <a:cubicBezTo>
                  <a:pt x="279031" y="1791628"/>
                  <a:pt x="279031" y="1835681"/>
                  <a:pt x="308416" y="1865017"/>
                </a:cubicBezTo>
                <a:cubicBezTo>
                  <a:pt x="514010" y="2077945"/>
                  <a:pt x="800375" y="2202768"/>
                  <a:pt x="1101408" y="2202768"/>
                </a:cubicBezTo>
                <a:cubicBezTo>
                  <a:pt x="1710809" y="2202768"/>
                  <a:pt x="2202768" y="1710809"/>
                  <a:pt x="2202768" y="1101360"/>
                </a:cubicBezTo>
                <a:cubicBezTo>
                  <a:pt x="2202768" y="491911"/>
                  <a:pt x="1710760" y="0"/>
                  <a:pt x="1101360" y="0"/>
                </a:cubicBezTo>
                <a:close/>
                <a:moveTo>
                  <a:pt x="550097" y="1364218"/>
                </a:moveTo>
                <a:lnTo>
                  <a:pt x="1652623" y="1364218"/>
                </a:lnTo>
                <a:cubicBezTo>
                  <a:pt x="1706292" y="1364218"/>
                  <a:pt x="1749761" y="1320748"/>
                  <a:pt x="1749761" y="1267079"/>
                </a:cubicBezTo>
                <a:cubicBezTo>
                  <a:pt x="1749761" y="1213409"/>
                  <a:pt x="1706292" y="1169940"/>
                  <a:pt x="1652623" y="1169940"/>
                </a:cubicBezTo>
                <a:lnTo>
                  <a:pt x="550097" y="1169940"/>
                </a:lnTo>
                <a:cubicBezTo>
                  <a:pt x="496428" y="1169940"/>
                  <a:pt x="452958" y="1213409"/>
                  <a:pt x="452958" y="1267079"/>
                </a:cubicBezTo>
                <a:cubicBezTo>
                  <a:pt x="452958" y="1320699"/>
                  <a:pt x="496428" y="1364218"/>
                  <a:pt x="550097" y="1364218"/>
                </a:cubicBezTo>
                <a:close/>
                <a:moveTo>
                  <a:pt x="550097" y="1032877"/>
                </a:moveTo>
                <a:lnTo>
                  <a:pt x="1652623" y="1032877"/>
                </a:lnTo>
                <a:cubicBezTo>
                  <a:pt x="1706292" y="1032877"/>
                  <a:pt x="1749761" y="989407"/>
                  <a:pt x="1749761" y="935738"/>
                </a:cubicBezTo>
                <a:cubicBezTo>
                  <a:pt x="1749761" y="882069"/>
                  <a:pt x="1706292" y="838599"/>
                  <a:pt x="1652623" y="838599"/>
                </a:cubicBezTo>
                <a:lnTo>
                  <a:pt x="550097" y="838599"/>
                </a:lnTo>
                <a:cubicBezTo>
                  <a:pt x="496428" y="838599"/>
                  <a:pt x="452958" y="882069"/>
                  <a:pt x="452958" y="935738"/>
                </a:cubicBezTo>
                <a:cubicBezTo>
                  <a:pt x="452958" y="989407"/>
                  <a:pt x="496428" y="1032877"/>
                  <a:pt x="550097" y="1032877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49311894-D5BA-481F-A342-C82BE2A295CE}"/>
              </a:ext>
            </a:extLst>
          </p:cNvPr>
          <p:cNvSpPr/>
          <p:nvPr/>
        </p:nvSpPr>
        <p:spPr>
          <a:xfrm>
            <a:off x="10616722" y="4653136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360 h 2202768"/>
              <a:gd name="connsiteX2" fmla="*/ 73437 w 2202719"/>
              <a:gd name="connsiteY2" fmla="*/ 1505215 h 2202768"/>
              <a:gd name="connsiteX3" fmla="*/ 168876 w 2202719"/>
              <a:gd name="connsiteY3" fmla="*/ 1549267 h 2202768"/>
              <a:gd name="connsiteX4" fmla="*/ 212928 w 2202719"/>
              <a:gd name="connsiteY4" fmla="*/ 1453828 h 2202768"/>
              <a:gd name="connsiteX5" fmla="*/ 146825 w 2202719"/>
              <a:gd name="connsiteY5" fmla="*/ 1101360 h 2202768"/>
              <a:gd name="connsiteX6" fmla="*/ 1101311 w 2202719"/>
              <a:gd name="connsiteY6" fmla="*/ 146826 h 2202768"/>
              <a:gd name="connsiteX7" fmla="*/ 2055797 w 2202719"/>
              <a:gd name="connsiteY7" fmla="*/ 1101360 h 2202768"/>
              <a:gd name="connsiteX8" fmla="*/ 1101311 w 2202719"/>
              <a:gd name="connsiteY8" fmla="*/ 2055894 h 2202768"/>
              <a:gd name="connsiteX9" fmla="*/ 411140 w 2202719"/>
              <a:gd name="connsiteY9" fmla="*/ 1762195 h 2202768"/>
              <a:gd name="connsiteX10" fmla="*/ 308367 w 2202719"/>
              <a:gd name="connsiteY10" fmla="*/ 1762195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652623 w 2202719"/>
              <a:gd name="connsiteY15" fmla="*/ 1198499 h 2202768"/>
              <a:gd name="connsiteX16" fmla="*/ 1749761 w 2202719"/>
              <a:gd name="connsiteY16" fmla="*/ 1101360 h 2202768"/>
              <a:gd name="connsiteX17" fmla="*/ 1652623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652623 w 2202719"/>
              <a:gd name="connsiteY21" fmla="*/ 1198499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11"/>
                  <a:pt x="0" y="1101360"/>
                </a:cubicBezTo>
                <a:cubicBezTo>
                  <a:pt x="0" y="1240851"/>
                  <a:pt x="29384" y="1380391"/>
                  <a:pt x="73437" y="1505215"/>
                </a:cubicBezTo>
                <a:cubicBezTo>
                  <a:pt x="88105" y="1549267"/>
                  <a:pt x="132157" y="1563935"/>
                  <a:pt x="168876" y="1549267"/>
                </a:cubicBezTo>
                <a:cubicBezTo>
                  <a:pt x="212928" y="1534599"/>
                  <a:pt x="227596" y="1490547"/>
                  <a:pt x="212928" y="1453828"/>
                </a:cubicBezTo>
                <a:cubicBezTo>
                  <a:pt x="168876" y="1343673"/>
                  <a:pt x="146825" y="1226183"/>
                  <a:pt x="146825" y="1101360"/>
                </a:cubicBezTo>
                <a:cubicBezTo>
                  <a:pt x="146825" y="572682"/>
                  <a:pt x="572682" y="146826"/>
                  <a:pt x="1101311" y="146826"/>
                </a:cubicBezTo>
                <a:cubicBezTo>
                  <a:pt x="1629941" y="146826"/>
                  <a:pt x="2055797" y="572682"/>
                  <a:pt x="2055797" y="1101360"/>
                </a:cubicBezTo>
                <a:cubicBezTo>
                  <a:pt x="2055797" y="1630038"/>
                  <a:pt x="1629941" y="2055894"/>
                  <a:pt x="1101311" y="2055894"/>
                </a:cubicBezTo>
                <a:cubicBezTo>
                  <a:pt x="844331" y="2055894"/>
                  <a:pt x="587350" y="1945739"/>
                  <a:pt x="411140" y="1762195"/>
                </a:cubicBezTo>
                <a:cubicBezTo>
                  <a:pt x="381756" y="1732811"/>
                  <a:pt x="337703" y="1732811"/>
                  <a:pt x="308367" y="1762195"/>
                </a:cubicBezTo>
                <a:cubicBezTo>
                  <a:pt x="278983" y="1791580"/>
                  <a:pt x="278983" y="1835632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760" y="0"/>
                  <a:pt x="1101360" y="0"/>
                </a:cubicBezTo>
                <a:close/>
                <a:moveTo>
                  <a:pt x="1652623" y="1198499"/>
                </a:move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1"/>
                  <a:pt x="1706292" y="1004221"/>
                  <a:pt x="1652623" y="1004221"/>
                </a:cubicBezTo>
                <a:lnTo>
                  <a:pt x="550097" y="1004221"/>
                </a:lnTo>
                <a:cubicBezTo>
                  <a:pt x="496428" y="1004221"/>
                  <a:pt x="452958" y="1047691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652623" y="1198499"/>
                </a:ln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ABDA8A40-CC04-43B4-87F0-6EFAE5DE5500}"/>
              </a:ext>
            </a:extLst>
          </p:cNvPr>
          <p:cNvSpPr/>
          <p:nvPr/>
        </p:nvSpPr>
        <p:spPr>
          <a:xfrm>
            <a:off x="9351284" y="4653136"/>
            <a:ext cx="535181" cy="535205"/>
          </a:xfrm>
          <a:custGeom>
            <a:avLst/>
            <a:gdLst>
              <a:gd name="connsiteX0" fmla="*/ 1101360 w 2202719"/>
              <a:gd name="connsiteY0" fmla="*/ 0 h 2202816"/>
              <a:gd name="connsiteX1" fmla="*/ 0 w 2202719"/>
              <a:gd name="connsiteY1" fmla="*/ 1101409 h 2202816"/>
              <a:gd name="connsiteX2" fmla="*/ 73437 w 2202719"/>
              <a:gd name="connsiteY2" fmla="*/ 1505263 h 2202816"/>
              <a:gd name="connsiteX3" fmla="*/ 168876 w 2202719"/>
              <a:gd name="connsiteY3" fmla="*/ 1549315 h 2202816"/>
              <a:gd name="connsiteX4" fmla="*/ 212928 w 2202719"/>
              <a:gd name="connsiteY4" fmla="*/ 1453876 h 2202816"/>
              <a:gd name="connsiteX5" fmla="*/ 146825 w 2202719"/>
              <a:gd name="connsiteY5" fmla="*/ 1101409 h 2202816"/>
              <a:gd name="connsiteX6" fmla="*/ 1101311 w 2202719"/>
              <a:gd name="connsiteY6" fmla="*/ 146874 h 2202816"/>
              <a:gd name="connsiteX7" fmla="*/ 2055797 w 2202719"/>
              <a:gd name="connsiteY7" fmla="*/ 1101409 h 2202816"/>
              <a:gd name="connsiteX8" fmla="*/ 1101311 w 2202719"/>
              <a:gd name="connsiteY8" fmla="*/ 2055943 h 2202816"/>
              <a:gd name="connsiteX9" fmla="*/ 411140 w 2202719"/>
              <a:gd name="connsiteY9" fmla="*/ 1762244 h 2202816"/>
              <a:gd name="connsiteX10" fmla="*/ 308367 w 2202719"/>
              <a:gd name="connsiteY10" fmla="*/ 1762244 h 2202816"/>
              <a:gd name="connsiteX11" fmla="*/ 308367 w 2202719"/>
              <a:gd name="connsiteY11" fmla="*/ 1865065 h 2202816"/>
              <a:gd name="connsiteX12" fmla="*/ 1101360 w 2202719"/>
              <a:gd name="connsiteY12" fmla="*/ 2202817 h 2202816"/>
              <a:gd name="connsiteX13" fmla="*/ 2202720 w 2202719"/>
              <a:gd name="connsiteY13" fmla="*/ 1101409 h 2202816"/>
              <a:gd name="connsiteX14" fmla="*/ 1101360 w 2202719"/>
              <a:gd name="connsiteY14" fmla="*/ 0 h 2202816"/>
              <a:gd name="connsiteX15" fmla="*/ 1101360 w 2202719"/>
              <a:gd name="connsiteY15" fmla="*/ 874832 h 2202816"/>
              <a:gd name="connsiteX16" fmla="*/ 1004221 w 2202719"/>
              <a:gd name="connsiteY16" fmla="*/ 971971 h 2202816"/>
              <a:gd name="connsiteX17" fmla="*/ 1004221 w 2202719"/>
              <a:gd name="connsiteY17" fmla="*/ 1652623 h 2202816"/>
              <a:gd name="connsiteX18" fmla="*/ 1101360 w 2202719"/>
              <a:gd name="connsiteY18" fmla="*/ 1749761 h 2202816"/>
              <a:gd name="connsiteX19" fmla="*/ 1198499 w 2202719"/>
              <a:gd name="connsiteY19" fmla="*/ 1652623 h 2202816"/>
              <a:gd name="connsiteX20" fmla="*/ 1198499 w 2202719"/>
              <a:gd name="connsiteY20" fmla="*/ 971971 h 2202816"/>
              <a:gd name="connsiteX21" fmla="*/ 1101360 w 2202719"/>
              <a:gd name="connsiteY21" fmla="*/ 874832 h 2202816"/>
              <a:gd name="connsiteX22" fmla="*/ 1100971 w 2202719"/>
              <a:gd name="connsiteY22" fmla="*/ 495991 h 2202816"/>
              <a:gd name="connsiteX23" fmla="*/ 989261 w 2202719"/>
              <a:gd name="connsiteY23" fmla="*/ 607700 h 2202816"/>
              <a:gd name="connsiteX24" fmla="*/ 1100971 w 2202719"/>
              <a:gd name="connsiteY24" fmla="*/ 719410 h 2202816"/>
              <a:gd name="connsiteX25" fmla="*/ 1212681 w 2202719"/>
              <a:gd name="connsiteY25" fmla="*/ 607700 h 2202816"/>
              <a:gd name="connsiteX26" fmla="*/ 1100971 w 2202719"/>
              <a:gd name="connsiteY26" fmla="*/ 495991 h 220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202719" h="2202816">
                <a:moveTo>
                  <a:pt x="1101360" y="0"/>
                </a:moveTo>
                <a:cubicBezTo>
                  <a:pt x="491959" y="0"/>
                  <a:pt x="0" y="491960"/>
                  <a:pt x="0" y="1101409"/>
                </a:cubicBezTo>
                <a:cubicBezTo>
                  <a:pt x="0" y="1240900"/>
                  <a:pt x="29384" y="1380440"/>
                  <a:pt x="73437" y="1505263"/>
                </a:cubicBezTo>
                <a:cubicBezTo>
                  <a:pt x="88105" y="1549315"/>
                  <a:pt x="132157" y="1563984"/>
                  <a:pt x="168876" y="1549315"/>
                </a:cubicBezTo>
                <a:cubicBezTo>
                  <a:pt x="212928" y="1534647"/>
                  <a:pt x="227596" y="1490595"/>
                  <a:pt x="212928" y="1453876"/>
                </a:cubicBezTo>
                <a:cubicBezTo>
                  <a:pt x="168876" y="1343721"/>
                  <a:pt x="146825" y="1226232"/>
                  <a:pt x="146825" y="1101409"/>
                </a:cubicBezTo>
                <a:cubicBezTo>
                  <a:pt x="146825" y="572731"/>
                  <a:pt x="572681" y="146874"/>
                  <a:pt x="1101311" y="146874"/>
                </a:cubicBezTo>
                <a:cubicBezTo>
                  <a:pt x="1629941" y="146874"/>
                  <a:pt x="2055797" y="572731"/>
                  <a:pt x="2055797" y="1101409"/>
                </a:cubicBezTo>
                <a:cubicBezTo>
                  <a:pt x="2055797" y="1630086"/>
                  <a:pt x="1629941" y="2055943"/>
                  <a:pt x="1101311" y="2055943"/>
                </a:cubicBezTo>
                <a:cubicBezTo>
                  <a:pt x="844330" y="2055943"/>
                  <a:pt x="587350" y="1945788"/>
                  <a:pt x="411140" y="1762244"/>
                </a:cubicBezTo>
                <a:cubicBezTo>
                  <a:pt x="381755" y="1732859"/>
                  <a:pt x="337703" y="1732859"/>
                  <a:pt x="308367" y="1762244"/>
                </a:cubicBezTo>
                <a:cubicBezTo>
                  <a:pt x="278982" y="1791628"/>
                  <a:pt x="278982" y="1835680"/>
                  <a:pt x="308367" y="1865065"/>
                </a:cubicBezTo>
                <a:cubicBezTo>
                  <a:pt x="513961" y="2077993"/>
                  <a:pt x="800326" y="2202817"/>
                  <a:pt x="1101360" y="2202817"/>
                </a:cubicBezTo>
                <a:cubicBezTo>
                  <a:pt x="1710760" y="2202817"/>
                  <a:pt x="2202720" y="1710857"/>
                  <a:pt x="2202720" y="1101409"/>
                </a:cubicBezTo>
                <a:cubicBezTo>
                  <a:pt x="2202720" y="491960"/>
                  <a:pt x="1710760" y="0"/>
                  <a:pt x="1101360" y="0"/>
                </a:cubicBezTo>
                <a:close/>
                <a:moveTo>
                  <a:pt x="1101360" y="874832"/>
                </a:moveTo>
                <a:cubicBezTo>
                  <a:pt x="1047690" y="874832"/>
                  <a:pt x="1004221" y="918302"/>
                  <a:pt x="1004221" y="971971"/>
                </a:cubicBezTo>
                <a:lnTo>
                  <a:pt x="1004221" y="1652623"/>
                </a:lnTo>
                <a:cubicBezTo>
                  <a:pt x="1004221" y="1706292"/>
                  <a:pt x="1047690" y="1749761"/>
                  <a:pt x="1101360" y="1749761"/>
                </a:cubicBezTo>
                <a:cubicBezTo>
                  <a:pt x="1155029" y="1749761"/>
                  <a:pt x="1198499" y="1706292"/>
                  <a:pt x="1198499" y="1652623"/>
                </a:cubicBezTo>
                <a:lnTo>
                  <a:pt x="1198499" y="971971"/>
                </a:lnTo>
                <a:cubicBezTo>
                  <a:pt x="1198499" y="918350"/>
                  <a:pt x="1154980" y="874832"/>
                  <a:pt x="1101360" y="874832"/>
                </a:cubicBezTo>
                <a:close/>
                <a:moveTo>
                  <a:pt x="1100971" y="495991"/>
                </a:moveTo>
                <a:cubicBezTo>
                  <a:pt x="1039385" y="495991"/>
                  <a:pt x="989261" y="546114"/>
                  <a:pt x="989261" y="607700"/>
                </a:cubicBezTo>
                <a:cubicBezTo>
                  <a:pt x="989261" y="669287"/>
                  <a:pt x="1039385" y="719410"/>
                  <a:pt x="1100971" y="719410"/>
                </a:cubicBezTo>
                <a:cubicBezTo>
                  <a:pt x="1162557" y="719410"/>
                  <a:pt x="1212681" y="669287"/>
                  <a:pt x="1212681" y="607700"/>
                </a:cubicBezTo>
                <a:cubicBezTo>
                  <a:pt x="1212681" y="546114"/>
                  <a:pt x="1162557" y="495991"/>
                  <a:pt x="1100971" y="495991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9A2D857-323D-4CC8-A7AF-1949815B3DC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356777" y="5337212"/>
            <a:ext cx="427236" cy="557313"/>
          </a:xfrm>
          <a:prstGeom prst="rect">
            <a:avLst/>
          </a:prstGeom>
        </p:spPr>
      </p:pic>
      <p:sp>
        <p:nvSpPr>
          <p:cNvPr id="12" name="Grafik 8">
            <a:extLst>
              <a:ext uri="{FF2B5EF4-FFF2-40B4-BE49-F238E27FC236}">
                <a16:creationId xmlns:a16="http://schemas.microsoft.com/office/drawing/2014/main" id="{D1864F9C-D3B3-41E8-BEA1-41D1E5284569}"/>
              </a:ext>
            </a:extLst>
          </p:cNvPr>
          <p:cNvSpPr>
            <a:spLocks noChangeAspect="1"/>
          </p:cNvSpPr>
          <p:nvPr/>
        </p:nvSpPr>
        <p:spPr>
          <a:xfrm>
            <a:off x="8713758" y="4648341"/>
            <a:ext cx="539988" cy="540000"/>
          </a:xfrm>
          <a:custGeom>
            <a:avLst/>
            <a:gdLst>
              <a:gd name="connsiteX0" fmla="*/ 2159889 w 4319873"/>
              <a:gd name="connsiteY0" fmla="*/ 0 h 4319968"/>
              <a:gd name="connsiteX1" fmla="*/ 0 w 4319873"/>
              <a:gd name="connsiteY1" fmla="*/ 2159984 h 4319968"/>
              <a:gd name="connsiteX2" fmla="*/ 144018 w 4319873"/>
              <a:gd name="connsiteY2" fmla="*/ 2951988 h 4319968"/>
              <a:gd name="connsiteX3" fmla="*/ 331184 w 4319873"/>
              <a:gd name="connsiteY3" fmla="*/ 3038380 h 4319968"/>
              <a:gd name="connsiteX4" fmla="*/ 417576 w 4319873"/>
              <a:gd name="connsiteY4" fmla="*/ 2851214 h 4319968"/>
              <a:gd name="connsiteX5" fmla="*/ 287941 w 4319873"/>
              <a:gd name="connsiteY5" fmla="*/ 2159984 h 4319968"/>
              <a:gd name="connsiteX6" fmla="*/ 2159794 w 4319873"/>
              <a:gd name="connsiteY6" fmla="*/ 288036 h 4319968"/>
              <a:gd name="connsiteX7" fmla="*/ 4031647 w 4319873"/>
              <a:gd name="connsiteY7" fmla="*/ 2159984 h 4319968"/>
              <a:gd name="connsiteX8" fmla="*/ 2159889 w 4319873"/>
              <a:gd name="connsiteY8" fmla="*/ 4031933 h 4319968"/>
              <a:gd name="connsiteX9" fmla="*/ 806387 w 4319873"/>
              <a:gd name="connsiteY9" fmla="*/ 3455956 h 4319968"/>
              <a:gd name="connsiteX10" fmla="*/ 604838 w 4319873"/>
              <a:gd name="connsiteY10" fmla="*/ 3455956 h 4319968"/>
              <a:gd name="connsiteX11" fmla="*/ 604838 w 4319873"/>
              <a:gd name="connsiteY11" fmla="*/ 3657600 h 4319968"/>
              <a:gd name="connsiteX12" fmla="*/ 2159984 w 4319873"/>
              <a:gd name="connsiteY12" fmla="*/ 4319969 h 4319968"/>
              <a:gd name="connsiteX13" fmla="*/ 4319873 w 4319873"/>
              <a:gd name="connsiteY13" fmla="*/ 2159984 h 4319968"/>
              <a:gd name="connsiteX14" fmla="*/ 2159889 w 4319873"/>
              <a:gd name="connsiteY14" fmla="*/ 0 h 4319968"/>
              <a:gd name="connsiteX15" fmla="*/ 2158365 w 4319873"/>
              <a:gd name="connsiteY15" fmla="*/ 2688622 h 4319968"/>
              <a:gd name="connsiteX16" fmla="*/ 2348865 w 4319873"/>
              <a:gd name="connsiteY16" fmla="*/ 2498122 h 4319968"/>
              <a:gd name="connsiteX17" fmla="*/ 2348865 w 4319873"/>
              <a:gd name="connsiteY17" fmla="*/ 1163288 h 4319968"/>
              <a:gd name="connsiteX18" fmla="*/ 2158365 w 4319873"/>
              <a:gd name="connsiteY18" fmla="*/ 972788 h 4319968"/>
              <a:gd name="connsiteX19" fmla="*/ 1967865 w 4319873"/>
              <a:gd name="connsiteY19" fmla="*/ 1163288 h 4319968"/>
              <a:gd name="connsiteX20" fmla="*/ 1967865 w 4319873"/>
              <a:gd name="connsiteY20" fmla="*/ 2498122 h 4319968"/>
              <a:gd name="connsiteX21" fmla="*/ 2158365 w 4319873"/>
              <a:gd name="connsiteY21" fmla="*/ 2688622 h 4319968"/>
              <a:gd name="connsiteX22" fmla="*/ 2159127 w 4319873"/>
              <a:gd name="connsiteY22" fmla="*/ 3431572 h 4319968"/>
              <a:gd name="connsiteX23" fmla="*/ 2378202 w 4319873"/>
              <a:gd name="connsiteY23" fmla="*/ 3212497 h 4319968"/>
              <a:gd name="connsiteX24" fmla="*/ 2159127 w 4319873"/>
              <a:gd name="connsiteY24" fmla="*/ 2993422 h 4319968"/>
              <a:gd name="connsiteX25" fmla="*/ 1940052 w 4319873"/>
              <a:gd name="connsiteY25" fmla="*/ 3212497 h 4319968"/>
              <a:gd name="connsiteX26" fmla="*/ 2159127 w 4319873"/>
              <a:gd name="connsiteY26" fmla="*/ 3431572 h 431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19873" h="4319968">
                <a:moveTo>
                  <a:pt x="2159889" y="0"/>
                </a:moveTo>
                <a:cubicBezTo>
                  <a:pt x="964787" y="0"/>
                  <a:pt x="0" y="964787"/>
                  <a:pt x="0" y="2159984"/>
                </a:cubicBezTo>
                <a:cubicBezTo>
                  <a:pt x="0" y="2433542"/>
                  <a:pt x="57626" y="2707196"/>
                  <a:pt x="144018" y="2951988"/>
                </a:cubicBezTo>
                <a:cubicBezTo>
                  <a:pt x="172784" y="3038380"/>
                  <a:pt x="259175" y="3067145"/>
                  <a:pt x="331184" y="3038380"/>
                </a:cubicBezTo>
                <a:cubicBezTo>
                  <a:pt x="417576" y="3009614"/>
                  <a:pt x="446342" y="2923223"/>
                  <a:pt x="417576" y="2851214"/>
                </a:cubicBezTo>
                <a:cubicBezTo>
                  <a:pt x="331184" y="2635187"/>
                  <a:pt x="287941" y="2404777"/>
                  <a:pt x="287941" y="2159984"/>
                </a:cubicBezTo>
                <a:cubicBezTo>
                  <a:pt x="287941" y="1123188"/>
                  <a:pt x="1123093" y="288036"/>
                  <a:pt x="2159794" y="288036"/>
                </a:cubicBezTo>
                <a:cubicBezTo>
                  <a:pt x="3196495" y="288036"/>
                  <a:pt x="4031647" y="1123188"/>
                  <a:pt x="4031647" y="2159984"/>
                </a:cubicBezTo>
                <a:cubicBezTo>
                  <a:pt x="4031647" y="3196781"/>
                  <a:pt x="3196590" y="4031933"/>
                  <a:pt x="2159889" y="4031933"/>
                </a:cubicBezTo>
                <a:cubicBezTo>
                  <a:pt x="1655921" y="4031933"/>
                  <a:pt x="1151954" y="3815906"/>
                  <a:pt x="806387" y="3455956"/>
                </a:cubicBezTo>
                <a:cubicBezTo>
                  <a:pt x="748760" y="3398330"/>
                  <a:pt x="662369" y="3398330"/>
                  <a:pt x="604838" y="3455956"/>
                </a:cubicBezTo>
                <a:cubicBezTo>
                  <a:pt x="547211" y="3513582"/>
                  <a:pt x="547211" y="3599974"/>
                  <a:pt x="604838" y="3657600"/>
                </a:cubicBezTo>
                <a:cubicBezTo>
                  <a:pt x="1008031" y="4075176"/>
                  <a:pt x="1569625" y="4319969"/>
                  <a:pt x="2159984" y="4319969"/>
                </a:cubicBezTo>
                <a:cubicBezTo>
                  <a:pt x="3355086" y="4319969"/>
                  <a:pt x="4319873" y="3355181"/>
                  <a:pt x="4319873" y="2159984"/>
                </a:cubicBezTo>
                <a:cubicBezTo>
                  <a:pt x="4319873" y="964787"/>
                  <a:pt x="3354991" y="0"/>
                  <a:pt x="2159889" y="0"/>
                </a:cubicBezTo>
                <a:close/>
                <a:moveTo>
                  <a:pt x="2158365" y="2688622"/>
                </a:moveTo>
                <a:cubicBezTo>
                  <a:pt x="2263616" y="2688622"/>
                  <a:pt x="2348865" y="2603373"/>
                  <a:pt x="2348865" y="2498122"/>
                </a:cubicBezTo>
                <a:lnTo>
                  <a:pt x="2348865" y="1163288"/>
                </a:lnTo>
                <a:cubicBezTo>
                  <a:pt x="2348865" y="1058037"/>
                  <a:pt x="2263616" y="972788"/>
                  <a:pt x="2158365" y="972788"/>
                </a:cubicBezTo>
                <a:cubicBezTo>
                  <a:pt x="2053114" y="972788"/>
                  <a:pt x="1967865" y="1058037"/>
                  <a:pt x="1967865" y="1163288"/>
                </a:cubicBezTo>
                <a:lnTo>
                  <a:pt x="1967865" y="2498122"/>
                </a:lnTo>
                <a:cubicBezTo>
                  <a:pt x="1967865" y="2603278"/>
                  <a:pt x="2053114" y="2688622"/>
                  <a:pt x="2158365" y="2688622"/>
                </a:cubicBezTo>
                <a:close/>
                <a:moveTo>
                  <a:pt x="2159127" y="3431572"/>
                </a:moveTo>
                <a:cubicBezTo>
                  <a:pt x="2279904" y="3431572"/>
                  <a:pt x="2378202" y="3333274"/>
                  <a:pt x="2378202" y="3212497"/>
                </a:cubicBezTo>
                <a:cubicBezTo>
                  <a:pt x="2378202" y="3091720"/>
                  <a:pt x="2279904" y="2993422"/>
                  <a:pt x="2159127" y="2993422"/>
                </a:cubicBezTo>
                <a:cubicBezTo>
                  <a:pt x="2038350" y="2993422"/>
                  <a:pt x="1940052" y="3091720"/>
                  <a:pt x="1940052" y="3212497"/>
                </a:cubicBezTo>
                <a:cubicBezTo>
                  <a:pt x="1940052" y="3333274"/>
                  <a:pt x="2038255" y="3431572"/>
                  <a:pt x="2159127" y="343157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DC154AC3-934F-4DA2-81AD-D1CC1713B7AB}"/>
              </a:ext>
            </a:extLst>
          </p:cNvPr>
          <p:cNvSpPr>
            <a:spLocks noEditPoints="1"/>
          </p:cNvSpPr>
          <p:nvPr/>
        </p:nvSpPr>
        <p:spPr bwMode="auto">
          <a:xfrm>
            <a:off x="8075613" y="4648200"/>
            <a:ext cx="541337" cy="539750"/>
          </a:xfrm>
          <a:custGeom>
            <a:avLst/>
            <a:gdLst>
              <a:gd name="T0" fmla="*/ 1318 w 1814"/>
              <a:gd name="T1" fmla="*/ 623 h 1814"/>
              <a:gd name="T2" fmla="*/ 914 w 1814"/>
              <a:gd name="T3" fmla="*/ 305 h 1814"/>
              <a:gd name="T4" fmla="*/ 763 w 1814"/>
              <a:gd name="T5" fmla="*/ 305 h 1814"/>
              <a:gd name="T6" fmla="*/ 683 w 1814"/>
              <a:gd name="T7" fmla="*/ 385 h 1814"/>
              <a:gd name="T8" fmla="*/ 763 w 1814"/>
              <a:gd name="T9" fmla="*/ 465 h 1814"/>
              <a:gd name="T10" fmla="*/ 914 w 1814"/>
              <a:gd name="T11" fmla="*/ 465 h 1814"/>
              <a:gd name="T12" fmla="*/ 1158 w 1814"/>
              <a:gd name="T13" fmla="*/ 623 h 1814"/>
              <a:gd name="T14" fmla="*/ 914 w 1814"/>
              <a:gd name="T15" fmla="*/ 780 h 1814"/>
              <a:gd name="T16" fmla="*/ 834 w 1814"/>
              <a:gd name="T17" fmla="*/ 860 h 1814"/>
              <a:gd name="T18" fmla="*/ 834 w 1814"/>
              <a:gd name="T19" fmla="*/ 1033 h 1814"/>
              <a:gd name="T20" fmla="*/ 914 w 1814"/>
              <a:gd name="T21" fmla="*/ 1113 h 1814"/>
              <a:gd name="T22" fmla="*/ 994 w 1814"/>
              <a:gd name="T23" fmla="*/ 1033 h 1814"/>
              <a:gd name="T24" fmla="*/ 994 w 1814"/>
              <a:gd name="T25" fmla="*/ 938 h 1814"/>
              <a:gd name="T26" fmla="*/ 1318 w 1814"/>
              <a:gd name="T27" fmla="*/ 623 h 1814"/>
              <a:gd name="T28" fmla="*/ 906 w 1814"/>
              <a:gd name="T29" fmla="*/ 1257 h 1814"/>
              <a:gd name="T30" fmla="*/ 814 w 1814"/>
              <a:gd name="T31" fmla="*/ 1349 h 1814"/>
              <a:gd name="T32" fmla="*/ 906 w 1814"/>
              <a:gd name="T33" fmla="*/ 1441 h 1814"/>
              <a:gd name="T34" fmla="*/ 998 w 1814"/>
              <a:gd name="T35" fmla="*/ 1349 h 1814"/>
              <a:gd name="T36" fmla="*/ 906 w 1814"/>
              <a:gd name="T37" fmla="*/ 1257 h 1814"/>
              <a:gd name="T38" fmla="*/ 907 w 1814"/>
              <a:gd name="T39" fmla="*/ 0 h 1814"/>
              <a:gd name="T40" fmla="*/ 0 w 1814"/>
              <a:gd name="T41" fmla="*/ 907 h 1814"/>
              <a:gd name="T42" fmla="*/ 60 w 1814"/>
              <a:gd name="T43" fmla="*/ 1239 h 1814"/>
              <a:gd name="T44" fmla="*/ 139 w 1814"/>
              <a:gd name="T45" fmla="*/ 1276 h 1814"/>
              <a:gd name="T46" fmla="*/ 175 w 1814"/>
              <a:gd name="T47" fmla="*/ 1197 h 1814"/>
              <a:gd name="T48" fmla="*/ 121 w 1814"/>
              <a:gd name="T49" fmla="*/ 907 h 1814"/>
              <a:gd name="T50" fmla="*/ 907 w 1814"/>
              <a:gd name="T51" fmla="*/ 121 h 1814"/>
              <a:gd name="T52" fmla="*/ 1693 w 1814"/>
              <a:gd name="T53" fmla="*/ 907 h 1814"/>
              <a:gd name="T54" fmla="*/ 907 w 1814"/>
              <a:gd name="T55" fmla="*/ 1693 h 1814"/>
              <a:gd name="T56" fmla="*/ 338 w 1814"/>
              <a:gd name="T57" fmla="*/ 1451 h 1814"/>
              <a:gd name="T58" fmla="*/ 254 w 1814"/>
              <a:gd name="T59" fmla="*/ 1451 h 1814"/>
              <a:gd name="T60" fmla="*/ 254 w 1814"/>
              <a:gd name="T61" fmla="*/ 1536 h 1814"/>
              <a:gd name="T62" fmla="*/ 907 w 1814"/>
              <a:gd name="T63" fmla="*/ 1814 h 1814"/>
              <a:gd name="T64" fmla="*/ 1814 w 1814"/>
              <a:gd name="T65" fmla="*/ 907 h 1814"/>
              <a:gd name="T66" fmla="*/ 907 w 1814"/>
              <a:gd name="T67" fmla="*/ 0 h 18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14" h="1814">
                <a:moveTo>
                  <a:pt x="1318" y="623"/>
                </a:moveTo>
                <a:cubicBezTo>
                  <a:pt x="1318" y="305"/>
                  <a:pt x="1035" y="305"/>
                  <a:pt x="914" y="305"/>
                </a:cubicBezTo>
                <a:cubicBezTo>
                  <a:pt x="763" y="305"/>
                  <a:pt x="763" y="305"/>
                  <a:pt x="763" y="305"/>
                </a:cubicBezTo>
                <a:cubicBezTo>
                  <a:pt x="719" y="305"/>
                  <a:pt x="683" y="341"/>
                  <a:pt x="683" y="385"/>
                </a:cubicBezTo>
                <a:cubicBezTo>
                  <a:pt x="683" y="429"/>
                  <a:pt x="719" y="465"/>
                  <a:pt x="763" y="465"/>
                </a:cubicBezTo>
                <a:cubicBezTo>
                  <a:pt x="914" y="465"/>
                  <a:pt x="914" y="465"/>
                  <a:pt x="914" y="465"/>
                </a:cubicBezTo>
                <a:cubicBezTo>
                  <a:pt x="1124" y="465"/>
                  <a:pt x="1158" y="511"/>
                  <a:pt x="1158" y="623"/>
                </a:cubicBezTo>
                <a:cubicBezTo>
                  <a:pt x="1158" y="734"/>
                  <a:pt x="1124" y="780"/>
                  <a:pt x="914" y="780"/>
                </a:cubicBezTo>
                <a:cubicBezTo>
                  <a:pt x="870" y="780"/>
                  <a:pt x="834" y="816"/>
                  <a:pt x="834" y="860"/>
                </a:cubicBezTo>
                <a:cubicBezTo>
                  <a:pt x="834" y="1033"/>
                  <a:pt x="834" y="1033"/>
                  <a:pt x="834" y="1033"/>
                </a:cubicBezTo>
                <a:cubicBezTo>
                  <a:pt x="834" y="1077"/>
                  <a:pt x="870" y="1113"/>
                  <a:pt x="914" y="1113"/>
                </a:cubicBezTo>
                <a:cubicBezTo>
                  <a:pt x="958" y="1113"/>
                  <a:pt x="994" y="1077"/>
                  <a:pt x="994" y="1033"/>
                </a:cubicBezTo>
                <a:cubicBezTo>
                  <a:pt x="994" y="938"/>
                  <a:pt x="994" y="938"/>
                  <a:pt x="994" y="938"/>
                </a:cubicBezTo>
                <a:cubicBezTo>
                  <a:pt x="1129" y="930"/>
                  <a:pt x="1318" y="882"/>
                  <a:pt x="1318" y="623"/>
                </a:cubicBezTo>
                <a:close/>
                <a:moveTo>
                  <a:pt x="906" y="1257"/>
                </a:moveTo>
                <a:cubicBezTo>
                  <a:pt x="856" y="1257"/>
                  <a:pt x="814" y="1298"/>
                  <a:pt x="814" y="1349"/>
                </a:cubicBezTo>
                <a:cubicBezTo>
                  <a:pt x="814" y="1400"/>
                  <a:pt x="856" y="1441"/>
                  <a:pt x="906" y="1441"/>
                </a:cubicBezTo>
                <a:cubicBezTo>
                  <a:pt x="957" y="1441"/>
                  <a:pt x="998" y="1400"/>
                  <a:pt x="998" y="1349"/>
                </a:cubicBezTo>
                <a:cubicBezTo>
                  <a:pt x="998" y="1298"/>
                  <a:pt x="957" y="1257"/>
                  <a:pt x="906" y="1257"/>
                </a:cubicBezTo>
                <a:close/>
                <a:moveTo>
                  <a:pt x="907" y="0"/>
                </a:moveTo>
                <a:cubicBezTo>
                  <a:pt x="405" y="0"/>
                  <a:pt x="0" y="405"/>
                  <a:pt x="0" y="907"/>
                </a:cubicBezTo>
                <a:cubicBezTo>
                  <a:pt x="0" y="1022"/>
                  <a:pt x="24" y="1137"/>
                  <a:pt x="60" y="1239"/>
                </a:cubicBezTo>
                <a:cubicBezTo>
                  <a:pt x="72" y="1276"/>
                  <a:pt x="108" y="1288"/>
                  <a:pt x="139" y="1276"/>
                </a:cubicBezTo>
                <a:cubicBezTo>
                  <a:pt x="175" y="1264"/>
                  <a:pt x="187" y="1227"/>
                  <a:pt x="175" y="1197"/>
                </a:cubicBezTo>
                <a:cubicBezTo>
                  <a:pt x="139" y="1106"/>
                  <a:pt x="121" y="1010"/>
                  <a:pt x="121" y="907"/>
                </a:cubicBezTo>
                <a:cubicBezTo>
                  <a:pt x="121" y="471"/>
                  <a:pt x="471" y="121"/>
                  <a:pt x="907" y="121"/>
                </a:cubicBezTo>
                <a:cubicBezTo>
                  <a:pt x="1342" y="121"/>
                  <a:pt x="1693" y="471"/>
                  <a:pt x="1693" y="907"/>
                </a:cubicBezTo>
                <a:cubicBezTo>
                  <a:pt x="1693" y="1342"/>
                  <a:pt x="1342" y="1693"/>
                  <a:pt x="907" y="1693"/>
                </a:cubicBezTo>
                <a:cubicBezTo>
                  <a:pt x="695" y="1693"/>
                  <a:pt x="483" y="1602"/>
                  <a:pt x="338" y="1451"/>
                </a:cubicBezTo>
                <a:cubicBezTo>
                  <a:pt x="314" y="1427"/>
                  <a:pt x="278" y="1427"/>
                  <a:pt x="254" y="1451"/>
                </a:cubicBezTo>
                <a:cubicBezTo>
                  <a:pt x="229" y="1475"/>
                  <a:pt x="229" y="1512"/>
                  <a:pt x="254" y="1536"/>
                </a:cubicBezTo>
                <a:cubicBezTo>
                  <a:pt x="423" y="1711"/>
                  <a:pt x="659" y="1814"/>
                  <a:pt x="907" y="1814"/>
                </a:cubicBezTo>
                <a:cubicBezTo>
                  <a:pt x="1409" y="1814"/>
                  <a:pt x="1814" y="1409"/>
                  <a:pt x="1814" y="907"/>
                </a:cubicBezTo>
                <a:cubicBezTo>
                  <a:pt x="1814" y="405"/>
                  <a:pt x="1409" y="0"/>
                  <a:pt x="907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941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C21E02C-EFB2-4629-8E0E-C6ACE21F3603}"/>
              </a:ext>
            </a:extLst>
          </p:cNvPr>
          <p:cNvSpPr/>
          <p:nvPr/>
        </p:nvSpPr>
        <p:spPr>
          <a:xfrm>
            <a:off x="10632632" y="606796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atterieladung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11A1AFF-5FC1-4A1F-A441-7EFCF1CD631A}"/>
              </a:ext>
            </a:extLst>
          </p:cNvPr>
          <p:cNvSpPr/>
          <p:nvPr/>
        </p:nvSpPr>
        <p:spPr>
          <a:xfrm>
            <a:off x="625064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iogas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C2B5B4B-203B-4B3A-96A0-1058F65E9F26}"/>
              </a:ext>
            </a:extLst>
          </p:cNvPr>
          <p:cNvSpPr/>
          <p:nvPr/>
        </p:nvSpPr>
        <p:spPr>
          <a:xfrm>
            <a:off x="7711303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onus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FB12FAC-3631-4609-B268-E003BF374929}"/>
              </a:ext>
            </a:extLst>
          </p:cNvPr>
          <p:cNvSpPr/>
          <p:nvPr/>
        </p:nvSpPr>
        <p:spPr>
          <a:xfrm>
            <a:off x="917196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Call Center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6118E21-0F92-4BC5-BA18-F5909BF55502}"/>
              </a:ext>
            </a:extLst>
          </p:cNvPr>
          <p:cNvSpPr/>
          <p:nvPr/>
        </p:nvSpPr>
        <p:spPr>
          <a:xfrm>
            <a:off x="186865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Einfach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E70E528-F5D7-4A3D-A7E5-FA1BA773ADB2}"/>
              </a:ext>
            </a:extLst>
          </p:cNvPr>
          <p:cNvSpPr/>
          <p:nvPr/>
        </p:nvSpPr>
        <p:spPr>
          <a:xfrm>
            <a:off x="332931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Elektromobilitä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C398702-2E02-4EA2-8A2D-9A0AF486830B}"/>
              </a:ext>
            </a:extLst>
          </p:cNvPr>
          <p:cNvSpPr/>
          <p:nvPr/>
        </p:nvSpPr>
        <p:spPr>
          <a:xfrm>
            <a:off x="478997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Magazi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D67369F-0D22-4B00-9D92-726264AA5C92}"/>
              </a:ext>
            </a:extLst>
          </p:cNvPr>
          <p:cNvSpPr/>
          <p:nvPr/>
        </p:nvSpPr>
        <p:spPr>
          <a:xfrm>
            <a:off x="625064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Liste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CDD5D5E-448D-4FBA-8F8B-D143242FC18C}"/>
              </a:ext>
            </a:extLst>
          </p:cNvPr>
          <p:cNvSpPr/>
          <p:nvPr/>
        </p:nvSpPr>
        <p:spPr>
          <a:xfrm>
            <a:off x="771130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Erledigt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F4485A0-0EA6-4660-BCDF-F122812F7C2D}"/>
              </a:ext>
            </a:extLst>
          </p:cNvPr>
          <p:cNvSpPr/>
          <p:nvPr/>
        </p:nvSpPr>
        <p:spPr>
          <a:xfrm>
            <a:off x="9171966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Erneuerbare Energie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78D3C1D-F4D5-4694-B6CF-2DC92480C5E3}"/>
              </a:ext>
            </a:extLst>
          </p:cNvPr>
          <p:cNvSpPr/>
          <p:nvPr/>
        </p:nvSpPr>
        <p:spPr>
          <a:xfrm>
            <a:off x="10632632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Fahrsimulation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3E4BA53C-871F-485F-B578-9E8EA063E0C6}"/>
              </a:ext>
            </a:extLst>
          </p:cNvPr>
          <p:cNvSpPr/>
          <p:nvPr/>
        </p:nvSpPr>
        <p:spPr>
          <a:xfrm>
            <a:off x="1868651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Gas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BB882EF-285B-40A8-AEDA-3B11529CAC1A}"/>
              </a:ext>
            </a:extLst>
          </p:cNvPr>
          <p:cNvSpPr/>
          <p:nvPr/>
        </p:nvSpPr>
        <p:spPr>
          <a:xfrm>
            <a:off x="3329314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uftrag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4A57F1B-688D-4193-9A07-4644157E5636}"/>
              </a:ext>
            </a:extLst>
          </p:cNvPr>
          <p:cNvSpPr/>
          <p:nvPr/>
        </p:nvSpPr>
        <p:spPr>
          <a:xfrm>
            <a:off x="478997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Vertrag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FEDC638-1C7E-46C1-99EF-B2F846A680FC}"/>
              </a:ext>
            </a:extLst>
          </p:cNvPr>
          <p:cNvSpPr/>
          <p:nvPr/>
        </p:nvSpPr>
        <p:spPr>
          <a:xfrm>
            <a:off x="6250640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Lieferung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4FDA542-124D-4A90-8340-047935650D81}"/>
              </a:ext>
            </a:extLst>
          </p:cNvPr>
          <p:cNvSpPr/>
          <p:nvPr/>
        </p:nvSpPr>
        <p:spPr>
          <a:xfrm>
            <a:off x="7711303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Installation der Wallbox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3061FB9-1034-4589-8B9C-2671DD028996}"/>
              </a:ext>
            </a:extLst>
          </p:cNvPr>
          <p:cNvSpPr/>
          <p:nvPr/>
        </p:nvSpPr>
        <p:spPr>
          <a:xfrm>
            <a:off x="9171966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Kontaktaufnahme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D2A1F5A7-A7DB-4789-B999-112D369827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9513" y="5240234"/>
            <a:ext cx="698238" cy="698238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77BDDBD1-7DAB-4DEC-B017-48D27BE19A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77521" y="1881186"/>
            <a:ext cx="698238" cy="698238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2156FBC8-E6CD-469F-BA1A-E76B22511A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38184" y="1881186"/>
            <a:ext cx="698238" cy="698238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C01BB258-5CED-44CC-BEBF-97562408BC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8847" y="1881186"/>
            <a:ext cx="698238" cy="698238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55FB30A6-8853-4722-9C9C-FD0C5028712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095532" y="3548404"/>
            <a:ext cx="698238" cy="698238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9995824E-5B8C-424F-8563-026DFF31562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56195" y="3548404"/>
            <a:ext cx="698238" cy="698238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F57D5283-5545-489C-9E26-B336363BF97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016858" y="3548404"/>
            <a:ext cx="698238" cy="698238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0E9240EB-044A-438D-9B0A-E1A21F86989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938184" y="3548404"/>
            <a:ext cx="698238" cy="698238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A2854686-1CE5-4039-B563-ADB017722E9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477521" y="3548404"/>
            <a:ext cx="698238" cy="698238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65188959-E093-4041-A0E4-A8D8BEFCC35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398847" y="3548404"/>
            <a:ext cx="698238" cy="698238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F24C8FAA-A3F7-4579-BB70-D92A72C035D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859513" y="3548404"/>
            <a:ext cx="698238" cy="698238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7A5F217B-D93B-48D9-8E3D-4648DF0E4A0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095532" y="5240234"/>
            <a:ext cx="698238" cy="698238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DCBEF2DC-7ADD-44AA-BA5C-8D5FE8242B8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556195" y="5240234"/>
            <a:ext cx="698238" cy="698238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245FCA9C-51E4-474F-B59D-1DC30202FF2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477521" y="5240234"/>
            <a:ext cx="698238" cy="698238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EECE78F0-84C5-4D62-97E9-9CA43BBE88EB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016858" y="5240234"/>
            <a:ext cx="698238" cy="698238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8EBF30DE-0518-4E58-A1B1-EE863941F0EE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7938184" y="5240234"/>
            <a:ext cx="698238" cy="698238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BA8BE430-166C-4D97-B7D6-E08E0FF08E65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9398847" y="5240234"/>
            <a:ext cx="698238" cy="698238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F4A216D-DDB5-4B64-ADB9-BD8F8396F6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B7BBECA-E90A-4CC7-B6BD-63807253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29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DFB2262-D930-323B-6F7E-6BDE0103BC68}"/>
              </a:ext>
            </a:extLst>
          </p:cNvPr>
          <p:cNvSpPr/>
          <p:nvPr/>
        </p:nvSpPr>
        <p:spPr>
          <a:xfrm>
            <a:off x="630214" y="606796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Ökostrom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F40A0F3-8B56-CDFE-A46F-17705FCCA2C6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857715" y="5240234"/>
            <a:ext cx="698238" cy="698238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A685CAF4-499D-6EEB-CB50-628C1C9ACB0D}"/>
              </a:ext>
            </a:extLst>
          </p:cNvPr>
          <p:cNvSpPr/>
          <p:nvPr/>
        </p:nvSpPr>
        <p:spPr>
          <a:xfrm>
            <a:off x="630214" y="437613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olar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2C87E868-7DCA-FAA5-D705-3D3536650348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857715" y="3548404"/>
            <a:ext cx="698238" cy="698238"/>
          </a:xfrm>
          <a:prstGeom prst="rect">
            <a:avLst/>
          </a:prstGeom>
        </p:spPr>
      </p:pic>
      <p:sp>
        <p:nvSpPr>
          <p:cNvPr id="33" name="Rechteck 32">
            <a:extLst>
              <a:ext uri="{FF2B5EF4-FFF2-40B4-BE49-F238E27FC236}">
                <a16:creationId xmlns:a16="http://schemas.microsoft.com/office/drawing/2014/main" id="{3E0A9C47-FF62-140F-E07F-45500CF0FD9B}"/>
              </a:ext>
            </a:extLst>
          </p:cNvPr>
          <p:cNvSpPr/>
          <p:nvPr/>
        </p:nvSpPr>
        <p:spPr>
          <a:xfrm>
            <a:off x="632218" y="270957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eihenfolge 1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3FA2716C-F5BA-0ECF-F8D4-8591C08693CD}"/>
              </a:ext>
            </a:extLst>
          </p:cNvPr>
          <p:cNvSpPr/>
          <p:nvPr/>
        </p:nvSpPr>
        <p:spPr>
          <a:xfrm>
            <a:off x="2092881" y="270957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eihenfolge 2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88AC7C0E-F1A7-C291-512E-5E21F840CDA3}"/>
              </a:ext>
            </a:extLst>
          </p:cNvPr>
          <p:cNvSpPr/>
          <p:nvPr/>
        </p:nvSpPr>
        <p:spPr>
          <a:xfrm>
            <a:off x="3553544" y="270957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eihenfolge 3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6C477127-518E-2CD2-E825-6DF59C4F8354}"/>
              </a:ext>
            </a:extLst>
          </p:cNvPr>
          <p:cNvSpPr/>
          <p:nvPr/>
        </p:nvSpPr>
        <p:spPr>
          <a:xfrm>
            <a:off x="5014210" y="270957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eihenfolge 4</a:t>
            </a:r>
          </a:p>
        </p:txBody>
      </p:sp>
      <p:pic>
        <p:nvPicPr>
          <p:cNvPr id="67" name="Grafik 66">
            <a:extLst>
              <a:ext uri="{FF2B5EF4-FFF2-40B4-BE49-F238E27FC236}">
                <a16:creationId xmlns:a16="http://schemas.microsoft.com/office/drawing/2014/main" id="{4CF70DE4-5481-CD2B-653F-FE5A5A79F1CE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859719" y="1881839"/>
            <a:ext cx="698238" cy="698238"/>
          </a:xfrm>
          <a:prstGeom prst="rect">
            <a:avLst/>
          </a:prstGeom>
        </p:spPr>
      </p:pic>
      <p:pic>
        <p:nvPicPr>
          <p:cNvPr id="68" name="Grafik 67">
            <a:extLst>
              <a:ext uri="{FF2B5EF4-FFF2-40B4-BE49-F238E27FC236}">
                <a16:creationId xmlns:a16="http://schemas.microsoft.com/office/drawing/2014/main" id="{56D502D7-E559-BDBD-BE0F-CF822815C8F2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2320382" y="1881839"/>
            <a:ext cx="698238" cy="698238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7C3AA1D1-9B32-D3F5-5EFF-766F97D0AFC4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781045" y="1881839"/>
            <a:ext cx="698238" cy="698238"/>
          </a:xfrm>
          <a:prstGeom prst="rect">
            <a:avLst/>
          </a:prstGeom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995C308F-2047-0AB6-7594-0C7974D30422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5241711" y="1881839"/>
            <a:ext cx="698238" cy="698238"/>
          </a:xfrm>
          <a:prstGeom prst="rect">
            <a:avLst/>
          </a:prstGeom>
        </p:spPr>
      </p:pic>
      <p:sp>
        <p:nvSpPr>
          <p:cNvPr id="71" name="Rechteck 70">
            <a:extLst>
              <a:ext uri="{FF2B5EF4-FFF2-40B4-BE49-F238E27FC236}">
                <a16:creationId xmlns:a16="http://schemas.microsoft.com/office/drawing/2014/main" id="{4DE0CE1C-DC19-FEA0-52DB-434A001CCA0C}"/>
              </a:ext>
            </a:extLst>
          </p:cNvPr>
          <p:cNvSpPr/>
          <p:nvPr/>
        </p:nvSpPr>
        <p:spPr>
          <a:xfrm>
            <a:off x="1063201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olar</a:t>
            </a:r>
          </a:p>
        </p:txBody>
      </p:sp>
      <p:pic>
        <p:nvPicPr>
          <p:cNvPr id="72" name="Grafik 71">
            <a:extLst>
              <a:ext uri="{FF2B5EF4-FFF2-40B4-BE49-F238E27FC236}">
                <a16:creationId xmlns:a16="http://schemas.microsoft.com/office/drawing/2014/main" id="{72E10A8D-8FC5-96D3-5F31-46369F971481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0859513" y="1881188"/>
            <a:ext cx="698238" cy="698238"/>
          </a:xfrm>
          <a:prstGeom prst="rect">
            <a:avLst/>
          </a:prstGeom>
        </p:spPr>
      </p:pic>
      <p:pic>
        <p:nvPicPr>
          <p:cNvPr id="75" name="Grafik 74">
            <a:hlinkClick r:id="rId48"/>
            <a:extLst>
              <a:ext uri="{FF2B5EF4-FFF2-40B4-BE49-F238E27FC236}">
                <a16:creationId xmlns:a16="http://schemas.microsoft.com/office/drawing/2014/main" id="{5678085B-001B-CCEB-9FE6-05DA6E4CE2B8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8001560" y="186097"/>
            <a:ext cx="1478440" cy="1517970"/>
          </a:xfrm>
          <a:prstGeom prst="rect">
            <a:avLst/>
          </a:prstGeom>
        </p:spPr>
      </p:pic>
      <p:sp>
        <p:nvSpPr>
          <p:cNvPr id="76" name="Textfeld 75">
            <a:extLst>
              <a:ext uri="{FF2B5EF4-FFF2-40B4-BE49-F238E27FC236}">
                <a16:creationId xmlns:a16="http://schemas.microsoft.com/office/drawing/2014/main" id="{24BCA827-17A7-08DB-D116-2274E0485388}"/>
              </a:ext>
            </a:extLst>
          </p:cNvPr>
          <p:cNvSpPr txBox="1"/>
          <p:nvPr/>
        </p:nvSpPr>
        <p:spPr>
          <a:xfrm>
            <a:off x="8001558" y="437251"/>
            <a:ext cx="147844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200" b="1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UR </a:t>
            </a: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mpuls-orange,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Tiefenblau,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chwarz oder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Weiß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639EB6C-0F21-D741-4F5A-59DA5E876063}"/>
              </a:ext>
            </a:extLst>
          </p:cNvPr>
          <p:cNvSpPr txBox="1"/>
          <p:nvPr/>
        </p:nvSpPr>
        <p:spPr>
          <a:xfrm>
            <a:off x="9477414" y="865367"/>
            <a:ext cx="230401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aktuell weiter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auf Weitere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1"/>
              </a:rPr>
              <a:t>Netze BW | Design Guide –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1"/>
              </a:rPr>
              <a:t>Figma</a:t>
            </a:r>
            <a:endParaRPr lang="de-DE" sz="1000" u="sng" dirty="0">
              <a:solidFill>
                <a:srgbClr val="0563C1"/>
              </a:solidFill>
              <a:effectLst/>
              <a:ea typeface="Times New Roman" panose="02020603050405020304" pitchFamily="18" charset="0"/>
            </a:endParaRPr>
          </a:p>
          <a:p>
            <a:r>
              <a:rPr lang="de-DE" sz="1000" dirty="0"/>
              <a:t>Zugriffsanfrage bitte an </a:t>
            </a:r>
          </a:p>
          <a:p>
            <a:r>
              <a:rPr lang="de-DE" sz="1000" dirty="0">
                <a:hlinkClick r:id="rId5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d-check@netze-bw.de</a:t>
            </a:r>
            <a:r>
              <a:rPr lang="de-DE" sz="1000" dirty="0"/>
              <a:t> senden.</a:t>
            </a:r>
          </a:p>
        </p:txBody>
      </p:sp>
    </p:spTree>
    <p:extLst>
      <p:ext uri="{BB962C8B-B14F-4D97-AF65-F5344CB8AC3E}">
        <p14:creationId xmlns:p14="http://schemas.microsoft.com/office/powerpoint/2010/main" val="192597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B6CBACBC-4EE8-E471-8C87-60ECC7ED68C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498233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9CB4293-DD30-428C-AC83-3373AC69A19D}"/>
              </a:ext>
            </a:extLst>
          </p:cNvPr>
          <p:cNvSpPr/>
          <p:nvPr/>
        </p:nvSpPr>
        <p:spPr>
          <a:xfrm>
            <a:off x="407988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esprechungs-bereich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914E2A4-3F3D-489E-8A74-5A63995F7AB9}"/>
              </a:ext>
            </a:extLst>
          </p:cNvPr>
          <p:cNvSpPr/>
          <p:nvPr/>
        </p:nvSpPr>
        <p:spPr>
          <a:xfrm>
            <a:off x="1868651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uchbar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C21E02C-EFB2-4629-8E0E-C6ACE21F3603}"/>
              </a:ext>
            </a:extLst>
          </p:cNvPr>
          <p:cNvSpPr/>
          <p:nvPr/>
        </p:nvSpPr>
        <p:spPr>
          <a:xfrm>
            <a:off x="3329314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üromateriali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B28C66A-7EE6-447E-8A43-D90F9CFE7BED}"/>
              </a:ext>
            </a:extLst>
          </p:cNvPr>
          <p:cNvSpPr/>
          <p:nvPr/>
        </p:nvSpPr>
        <p:spPr>
          <a:xfrm>
            <a:off x="4789977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Finanz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11A1AFF-5FC1-4A1F-A441-7EFCF1CD631A}"/>
              </a:ext>
            </a:extLst>
          </p:cNvPr>
          <p:cNvSpPr/>
          <p:nvPr/>
        </p:nvSpPr>
        <p:spPr>
          <a:xfrm>
            <a:off x="625064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Geschäftsreis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C2B5B4B-203B-4B3A-96A0-1058F65E9F26}"/>
              </a:ext>
            </a:extLst>
          </p:cNvPr>
          <p:cNvSpPr/>
          <p:nvPr/>
        </p:nvSpPr>
        <p:spPr>
          <a:xfrm>
            <a:off x="7711303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Gesellschaf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FB12FAC-3631-4609-B268-E003BF374929}"/>
              </a:ext>
            </a:extLst>
          </p:cNvPr>
          <p:cNvSpPr/>
          <p:nvPr/>
        </p:nvSpPr>
        <p:spPr>
          <a:xfrm>
            <a:off x="917196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Infra</a:t>
            </a:r>
            <a:r>
              <a:rPr lang="de-DE" sz="1000" dirty="0">
                <a:solidFill>
                  <a:schemeClr val="tx1"/>
                </a:solidFill>
              </a:rPr>
              <a:t> Kund*inne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6CCA53A-ED4A-44DF-897C-FF8822F0AB2A}"/>
              </a:ext>
            </a:extLst>
          </p:cNvPr>
          <p:cNvSpPr/>
          <p:nvPr/>
        </p:nvSpPr>
        <p:spPr>
          <a:xfrm>
            <a:off x="1063263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Infra</a:t>
            </a:r>
            <a:r>
              <a:rPr lang="de-DE" sz="10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F5C0878-D46F-42E1-B4BE-08B50EB6586F}"/>
              </a:ext>
            </a:extLst>
          </p:cNvPr>
          <p:cNvSpPr/>
          <p:nvPr/>
        </p:nvSpPr>
        <p:spPr>
          <a:xfrm>
            <a:off x="407988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Kapitalmark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6118E21-0F92-4BC5-BA18-F5909BF55502}"/>
              </a:ext>
            </a:extLst>
          </p:cNvPr>
          <p:cNvSpPr/>
          <p:nvPr/>
        </p:nvSpPr>
        <p:spPr>
          <a:xfrm>
            <a:off x="186865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Klimaneutral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E70E528-F5D7-4A3D-A7E5-FA1BA773ADB2}"/>
              </a:ext>
            </a:extLst>
          </p:cNvPr>
          <p:cNvSpPr/>
          <p:nvPr/>
        </p:nvSpPr>
        <p:spPr>
          <a:xfrm>
            <a:off x="332931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Kommune Stadtwerke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C398702-2E02-4EA2-8A2D-9A0AF486830B}"/>
              </a:ext>
            </a:extLst>
          </p:cNvPr>
          <p:cNvSpPr/>
          <p:nvPr/>
        </p:nvSpPr>
        <p:spPr>
          <a:xfrm>
            <a:off x="478997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Kund*inne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D67369F-0D22-4B00-9D92-726264AA5C92}"/>
              </a:ext>
            </a:extLst>
          </p:cNvPr>
          <p:cNvSpPr/>
          <p:nvPr/>
        </p:nvSpPr>
        <p:spPr>
          <a:xfrm>
            <a:off x="625064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Lieferante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CDD5D5E-448D-4FBA-8F8B-D143242FC18C}"/>
              </a:ext>
            </a:extLst>
          </p:cNvPr>
          <p:cNvSpPr/>
          <p:nvPr/>
        </p:nvSpPr>
        <p:spPr>
          <a:xfrm>
            <a:off x="771130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Mitarbeiter*inn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F4485A0-0EA6-4660-BCDF-F122812F7C2D}"/>
              </a:ext>
            </a:extLst>
          </p:cNvPr>
          <p:cNvSpPr/>
          <p:nvPr/>
        </p:nvSpPr>
        <p:spPr>
          <a:xfrm>
            <a:off x="9171966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Netz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78D3C1D-F4D5-4694-B6CF-2DC92480C5E3}"/>
              </a:ext>
            </a:extLst>
          </p:cNvPr>
          <p:cNvSpPr/>
          <p:nvPr/>
        </p:nvSpPr>
        <p:spPr>
          <a:xfrm>
            <a:off x="10632632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Netzverluste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3E4BA53C-871F-485F-B578-9E8EA063E0C6}"/>
              </a:ext>
            </a:extLst>
          </p:cNvPr>
          <p:cNvSpPr/>
          <p:nvPr/>
        </p:nvSpPr>
        <p:spPr>
          <a:xfrm>
            <a:off x="1868651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Politik Medie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BB882EF-285B-40A8-AEDA-3B11529CAC1A}"/>
              </a:ext>
            </a:extLst>
          </p:cNvPr>
          <p:cNvSpPr/>
          <p:nvPr/>
        </p:nvSpPr>
        <p:spPr>
          <a:xfrm>
            <a:off x="3329314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ückzugsraum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4A57F1B-688D-4193-9A07-4644157E5636}"/>
              </a:ext>
            </a:extLst>
          </p:cNvPr>
          <p:cNvSpPr/>
          <p:nvPr/>
        </p:nvSpPr>
        <p:spPr>
          <a:xfrm>
            <a:off x="478997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Scope</a:t>
            </a:r>
            <a:r>
              <a:rPr lang="de-DE" sz="1000" dirty="0">
                <a:solidFill>
                  <a:schemeClr val="tx1"/>
                </a:solidFill>
              </a:rPr>
              <a:t> 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FEDC638-1C7E-46C1-99EF-B2F846A680FC}"/>
              </a:ext>
            </a:extLst>
          </p:cNvPr>
          <p:cNvSpPr/>
          <p:nvPr/>
        </p:nvSpPr>
        <p:spPr>
          <a:xfrm>
            <a:off x="6250640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Scope</a:t>
            </a:r>
            <a:r>
              <a:rPr lang="de-DE" sz="1000" dirty="0">
                <a:solidFill>
                  <a:schemeClr val="tx1"/>
                </a:solidFill>
              </a:rPr>
              <a:t> 3 Upstream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4FDA542-124D-4A90-8340-047935650D81}"/>
              </a:ext>
            </a:extLst>
          </p:cNvPr>
          <p:cNvSpPr/>
          <p:nvPr/>
        </p:nvSpPr>
        <p:spPr>
          <a:xfrm>
            <a:off x="7711303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trategi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3061FB9-1034-4589-8B9C-2671DD028996}"/>
              </a:ext>
            </a:extLst>
          </p:cNvPr>
          <p:cNvSpPr/>
          <p:nvPr/>
        </p:nvSpPr>
        <p:spPr>
          <a:xfrm>
            <a:off x="9171966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Teeküch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027610CA-0971-4F1D-A1DB-8D379C3950F2}"/>
              </a:ext>
            </a:extLst>
          </p:cNvPr>
          <p:cNvSpPr/>
          <p:nvPr/>
        </p:nvSpPr>
        <p:spPr>
          <a:xfrm>
            <a:off x="10632632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Umwelt</a:t>
            </a:r>
          </a:p>
        </p:txBody>
      </p:sp>
      <p:pic>
        <p:nvPicPr>
          <p:cNvPr id="53" name="Grafik 52">
            <a:extLst>
              <a:ext uri="{FF2B5EF4-FFF2-40B4-BE49-F238E27FC236}">
                <a16:creationId xmlns:a16="http://schemas.microsoft.com/office/drawing/2014/main" id="{D9FDC471-A8C8-4146-9103-87CD1EBD14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4788" y="1881188"/>
            <a:ext cx="698400" cy="698400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AA7DACA9-22B9-4462-BAB7-F44A34C4F1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16777" y="1881188"/>
            <a:ext cx="698400" cy="698400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498B8773-C6BA-46DA-A5C0-4EA5A9EE4B8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77440" y="1881188"/>
            <a:ext cx="698400" cy="698400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DA6DA035-A559-43DA-8570-5142C48674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38103" y="1881188"/>
            <a:ext cx="698400" cy="698400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0CA6FF6D-B681-48CF-938B-D92D73CD5B6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398766" y="1881188"/>
            <a:ext cx="698400" cy="698400"/>
          </a:xfrm>
          <a:prstGeom prst="rect">
            <a:avLst/>
          </a:prstGeom>
        </p:spPr>
      </p:pic>
      <p:pic>
        <p:nvPicPr>
          <p:cNvPr id="82" name="Grafik 81">
            <a:extLst>
              <a:ext uri="{FF2B5EF4-FFF2-40B4-BE49-F238E27FC236}">
                <a16:creationId xmlns:a16="http://schemas.microsoft.com/office/drawing/2014/main" id="{74325608-2446-44AF-93B0-A3310BFCEA8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859432" y="1881188"/>
            <a:ext cx="698400" cy="698400"/>
          </a:xfrm>
          <a:prstGeom prst="rect">
            <a:avLst/>
          </a:prstGeom>
        </p:spPr>
      </p:pic>
      <p:pic>
        <p:nvPicPr>
          <p:cNvPr id="83" name="Grafik 82">
            <a:extLst>
              <a:ext uri="{FF2B5EF4-FFF2-40B4-BE49-F238E27FC236}">
                <a16:creationId xmlns:a16="http://schemas.microsoft.com/office/drawing/2014/main" id="{635C0453-07D7-455C-B40A-DBFE6F7121B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34788" y="3537396"/>
            <a:ext cx="698400" cy="698400"/>
          </a:xfrm>
          <a:prstGeom prst="rect">
            <a:avLst/>
          </a:prstGeom>
        </p:spPr>
      </p:pic>
      <p:pic>
        <p:nvPicPr>
          <p:cNvPr id="84" name="Grafik 83">
            <a:extLst>
              <a:ext uri="{FF2B5EF4-FFF2-40B4-BE49-F238E27FC236}">
                <a16:creationId xmlns:a16="http://schemas.microsoft.com/office/drawing/2014/main" id="{00CCDDFD-C0C3-4C96-818A-559A99CD358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095451" y="3537396"/>
            <a:ext cx="698400" cy="698400"/>
          </a:xfrm>
          <a:prstGeom prst="rect">
            <a:avLst/>
          </a:prstGeom>
        </p:spPr>
      </p:pic>
      <p:pic>
        <p:nvPicPr>
          <p:cNvPr id="85" name="Grafik 84">
            <a:extLst>
              <a:ext uri="{FF2B5EF4-FFF2-40B4-BE49-F238E27FC236}">
                <a16:creationId xmlns:a16="http://schemas.microsoft.com/office/drawing/2014/main" id="{350C0439-9DAD-42A9-B7C9-B045C8C5069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556114" y="3537396"/>
            <a:ext cx="698400" cy="698400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3AC3B880-7713-40CA-A28E-18A6182C2A0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016777" y="3537396"/>
            <a:ext cx="698400" cy="698400"/>
          </a:xfrm>
          <a:prstGeom prst="rect">
            <a:avLst/>
          </a:prstGeom>
        </p:spPr>
      </p:pic>
      <p:pic>
        <p:nvPicPr>
          <p:cNvPr id="87" name="Grafik 86">
            <a:extLst>
              <a:ext uri="{FF2B5EF4-FFF2-40B4-BE49-F238E27FC236}">
                <a16:creationId xmlns:a16="http://schemas.microsoft.com/office/drawing/2014/main" id="{B70685C6-1BAE-4116-BB6F-7FB84E2A6B5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477440" y="3537396"/>
            <a:ext cx="698400" cy="698400"/>
          </a:xfrm>
          <a:prstGeom prst="rect">
            <a:avLst/>
          </a:prstGeom>
        </p:spPr>
      </p:pic>
      <p:pic>
        <p:nvPicPr>
          <p:cNvPr id="88" name="Grafik 87">
            <a:extLst>
              <a:ext uri="{FF2B5EF4-FFF2-40B4-BE49-F238E27FC236}">
                <a16:creationId xmlns:a16="http://schemas.microsoft.com/office/drawing/2014/main" id="{8E8268A2-EB31-4BBE-980C-BD73CD0AE3D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938103" y="3537396"/>
            <a:ext cx="698400" cy="698400"/>
          </a:xfrm>
          <a:prstGeom prst="rect">
            <a:avLst/>
          </a:prstGeom>
        </p:spPr>
      </p:pic>
      <p:pic>
        <p:nvPicPr>
          <p:cNvPr id="89" name="Grafik 88">
            <a:extLst>
              <a:ext uri="{FF2B5EF4-FFF2-40B4-BE49-F238E27FC236}">
                <a16:creationId xmlns:a16="http://schemas.microsoft.com/office/drawing/2014/main" id="{E99C2B12-AD0E-4FCD-871A-55F76A4DAED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398766" y="3537396"/>
            <a:ext cx="698400" cy="698400"/>
          </a:xfrm>
          <a:prstGeom prst="rect">
            <a:avLst/>
          </a:prstGeom>
        </p:spPr>
      </p:pic>
      <p:pic>
        <p:nvPicPr>
          <p:cNvPr id="90" name="Grafik 89">
            <a:extLst>
              <a:ext uri="{FF2B5EF4-FFF2-40B4-BE49-F238E27FC236}">
                <a16:creationId xmlns:a16="http://schemas.microsoft.com/office/drawing/2014/main" id="{DE6BC3A9-267E-43D9-928F-1D8C71717DC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859432" y="3537396"/>
            <a:ext cx="698400" cy="698400"/>
          </a:xfrm>
          <a:prstGeom prst="rect">
            <a:avLst/>
          </a:prstGeom>
        </p:spPr>
      </p:pic>
      <p:pic>
        <p:nvPicPr>
          <p:cNvPr id="91" name="Grafik 90">
            <a:extLst>
              <a:ext uri="{FF2B5EF4-FFF2-40B4-BE49-F238E27FC236}">
                <a16:creationId xmlns:a16="http://schemas.microsoft.com/office/drawing/2014/main" id="{C7111E49-D21C-4C9F-A191-6B598B5FBAD7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095451" y="5229584"/>
            <a:ext cx="698400" cy="698400"/>
          </a:xfrm>
          <a:prstGeom prst="rect">
            <a:avLst/>
          </a:prstGeom>
        </p:spPr>
      </p:pic>
      <p:pic>
        <p:nvPicPr>
          <p:cNvPr id="92" name="Grafik 91">
            <a:extLst>
              <a:ext uri="{FF2B5EF4-FFF2-40B4-BE49-F238E27FC236}">
                <a16:creationId xmlns:a16="http://schemas.microsoft.com/office/drawing/2014/main" id="{17D6206A-F5E4-4EA2-B2FA-8313D6C68F9F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556114" y="5229584"/>
            <a:ext cx="698400" cy="698400"/>
          </a:xfrm>
          <a:prstGeom prst="rect">
            <a:avLst/>
          </a:prstGeom>
        </p:spPr>
      </p:pic>
      <p:pic>
        <p:nvPicPr>
          <p:cNvPr id="93" name="Grafik 92">
            <a:extLst>
              <a:ext uri="{FF2B5EF4-FFF2-40B4-BE49-F238E27FC236}">
                <a16:creationId xmlns:a16="http://schemas.microsoft.com/office/drawing/2014/main" id="{2F78CAAE-2FEA-42B7-AAF9-A004AC2676DD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5016777" y="5229584"/>
            <a:ext cx="698400" cy="698400"/>
          </a:xfrm>
          <a:prstGeom prst="rect">
            <a:avLst/>
          </a:prstGeom>
        </p:spPr>
      </p:pic>
      <p:pic>
        <p:nvPicPr>
          <p:cNvPr id="94" name="Grafik 93">
            <a:extLst>
              <a:ext uri="{FF2B5EF4-FFF2-40B4-BE49-F238E27FC236}">
                <a16:creationId xmlns:a16="http://schemas.microsoft.com/office/drawing/2014/main" id="{E51D10D7-7648-4B49-B237-7F31B9AAB77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7938103" y="5229584"/>
            <a:ext cx="698400" cy="698400"/>
          </a:xfrm>
          <a:prstGeom prst="rect">
            <a:avLst/>
          </a:prstGeom>
        </p:spPr>
      </p:pic>
      <p:pic>
        <p:nvPicPr>
          <p:cNvPr id="95" name="Grafik 94">
            <a:extLst>
              <a:ext uri="{FF2B5EF4-FFF2-40B4-BE49-F238E27FC236}">
                <a16:creationId xmlns:a16="http://schemas.microsoft.com/office/drawing/2014/main" id="{48144EC9-C12B-4C2B-B780-9AA5539014D2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9398766" y="5229584"/>
            <a:ext cx="698400" cy="698400"/>
          </a:xfrm>
          <a:prstGeom prst="rect">
            <a:avLst/>
          </a:prstGeom>
        </p:spPr>
      </p:pic>
      <p:pic>
        <p:nvPicPr>
          <p:cNvPr id="96" name="Grafik 95">
            <a:extLst>
              <a:ext uri="{FF2B5EF4-FFF2-40B4-BE49-F238E27FC236}">
                <a16:creationId xmlns:a16="http://schemas.microsoft.com/office/drawing/2014/main" id="{29AD60E9-BA2A-4715-B26D-9EFB2399AD22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0859432" y="5229584"/>
            <a:ext cx="698400" cy="6984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1BEFEBA-5502-4717-A050-656D4C60B316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2095451" y="1881188"/>
            <a:ext cx="698400" cy="698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945CAC6-E418-4F50-849B-D4C0FC92B120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556114" y="1881188"/>
            <a:ext cx="698400" cy="698400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5AF836F5-54BF-4000-A755-704369FDC8BA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6477440" y="5229584"/>
            <a:ext cx="698400" cy="6984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E1C7F39-33F0-4A4F-BCD5-831ADF3DD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FBB11E-61A3-4167-9652-77E9714F1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30</a:t>
            </a:fld>
            <a:endParaRPr lang="de-DE" dirty="0"/>
          </a:p>
        </p:txBody>
      </p:sp>
      <p:pic>
        <p:nvPicPr>
          <p:cNvPr id="33" name="Grafik 32">
            <a:hlinkClick r:id="rId48"/>
            <a:extLst>
              <a:ext uri="{FF2B5EF4-FFF2-40B4-BE49-F238E27FC236}">
                <a16:creationId xmlns:a16="http://schemas.microsoft.com/office/drawing/2014/main" id="{7E590F90-247D-CA52-813C-0A0867C19DD4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8001560" y="186097"/>
            <a:ext cx="1478440" cy="1517970"/>
          </a:xfrm>
          <a:prstGeom prst="rect">
            <a:avLst/>
          </a:prstGeom>
        </p:spPr>
      </p:pic>
      <p:sp>
        <p:nvSpPr>
          <p:cNvPr id="34" name="Textfeld 33">
            <a:extLst>
              <a:ext uri="{FF2B5EF4-FFF2-40B4-BE49-F238E27FC236}">
                <a16:creationId xmlns:a16="http://schemas.microsoft.com/office/drawing/2014/main" id="{62A8213E-FA25-DFAE-4153-01B7C55954B0}"/>
              </a:ext>
            </a:extLst>
          </p:cNvPr>
          <p:cNvSpPr txBox="1"/>
          <p:nvPr/>
        </p:nvSpPr>
        <p:spPr>
          <a:xfrm>
            <a:off x="8001558" y="437251"/>
            <a:ext cx="147844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200" b="1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UR </a:t>
            </a: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mpuls-orange,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Tiefenblau,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chwarz oder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Weiß</a:t>
            </a: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8F492A2E-BC9A-34FF-77F2-0FD9D24B6EAA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634168" y="5293442"/>
            <a:ext cx="702000" cy="702000"/>
          </a:xfrm>
          <a:prstGeom prst="rect">
            <a:avLst/>
          </a:prstGeom>
        </p:spPr>
      </p:pic>
      <p:sp>
        <p:nvSpPr>
          <p:cNvPr id="39" name="Rechteck 38">
            <a:extLst>
              <a:ext uri="{FF2B5EF4-FFF2-40B4-BE49-F238E27FC236}">
                <a16:creationId xmlns:a16="http://schemas.microsoft.com/office/drawing/2014/main" id="{190463B6-9674-D24D-8A3D-FF6546953857}"/>
              </a:ext>
            </a:extLst>
          </p:cNvPr>
          <p:cNvSpPr/>
          <p:nvPr/>
        </p:nvSpPr>
        <p:spPr>
          <a:xfrm>
            <a:off x="409168" y="6070735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Download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92B811F-B90C-CA26-67DC-DCCAD772F9C1}"/>
              </a:ext>
            </a:extLst>
          </p:cNvPr>
          <p:cNvSpPr txBox="1"/>
          <p:nvPr/>
        </p:nvSpPr>
        <p:spPr>
          <a:xfrm>
            <a:off x="9477414" y="865367"/>
            <a:ext cx="230401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aktuell weiter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auf Weitere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3"/>
              </a:rPr>
              <a:t>Netze BW | Design Guide –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3"/>
              </a:rPr>
              <a:t>Figma</a:t>
            </a:r>
            <a:endParaRPr lang="de-DE" sz="1000" u="sng" dirty="0">
              <a:solidFill>
                <a:srgbClr val="0563C1"/>
              </a:solidFill>
              <a:effectLst/>
              <a:ea typeface="Times New Roman" panose="02020603050405020304" pitchFamily="18" charset="0"/>
            </a:endParaRPr>
          </a:p>
          <a:p>
            <a:r>
              <a:rPr lang="de-DE" sz="1000" dirty="0"/>
              <a:t>Zugriffsanfrage bitte an </a:t>
            </a:r>
          </a:p>
          <a:p>
            <a:r>
              <a:rPr lang="de-DE" sz="1000" dirty="0">
                <a:hlinkClick r:id="rId5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d-check@netze-bw.de</a:t>
            </a:r>
            <a:r>
              <a:rPr lang="de-DE" sz="1000" dirty="0"/>
              <a:t> senden.</a:t>
            </a:r>
          </a:p>
        </p:txBody>
      </p:sp>
    </p:spTree>
    <p:extLst>
      <p:ext uri="{BB962C8B-B14F-4D97-AF65-F5344CB8AC3E}">
        <p14:creationId xmlns:p14="http://schemas.microsoft.com/office/powerpoint/2010/main" val="292391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9CB4293-DD30-428C-AC83-3373AC69A19D}"/>
              </a:ext>
            </a:extLst>
          </p:cNvPr>
          <p:cNvSpPr/>
          <p:nvPr/>
        </p:nvSpPr>
        <p:spPr>
          <a:xfrm>
            <a:off x="407678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Umweltinitiati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914E2A4-3F3D-489E-8A74-5A63995F7AB9}"/>
              </a:ext>
            </a:extLst>
          </p:cNvPr>
          <p:cNvSpPr/>
          <p:nvPr/>
        </p:nvSpPr>
        <p:spPr>
          <a:xfrm>
            <a:off x="1868341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Infraerzeugung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C21E02C-EFB2-4629-8E0E-C6ACE21F3603}"/>
              </a:ext>
            </a:extLst>
          </p:cNvPr>
          <p:cNvSpPr/>
          <p:nvPr/>
        </p:nvSpPr>
        <p:spPr>
          <a:xfrm>
            <a:off x="3329004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chnel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B28C66A-7EE6-447E-8A43-D90F9CFE7BED}"/>
              </a:ext>
            </a:extLst>
          </p:cNvPr>
          <p:cNvSpPr/>
          <p:nvPr/>
        </p:nvSpPr>
        <p:spPr>
          <a:xfrm>
            <a:off x="4789667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Digita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11A1AFF-5FC1-4A1F-A441-7EFCF1CD631A}"/>
              </a:ext>
            </a:extLst>
          </p:cNvPr>
          <p:cNvSpPr/>
          <p:nvPr/>
        </p:nvSpPr>
        <p:spPr>
          <a:xfrm>
            <a:off x="625002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Vernetz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FB12FAC-3631-4609-B268-E003BF374929}"/>
              </a:ext>
            </a:extLst>
          </p:cNvPr>
          <p:cNvSpPr/>
          <p:nvPr/>
        </p:nvSpPr>
        <p:spPr>
          <a:xfrm>
            <a:off x="917165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Ökologisch</a:t>
            </a:r>
          </a:p>
        </p:txBody>
      </p:sp>
      <p:pic>
        <p:nvPicPr>
          <p:cNvPr id="58" name="Grafik 57">
            <a:extLst>
              <a:ext uri="{FF2B5EF4-FFF2-40B4-BE49-F238E27FC236}">
                <a16:creationId xmlns:a16="http://schemas.microsoft.com/office/drawing/2014/main" id="{103B7175-02AC-4243-928A-99081B6759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4478" y="1881188"/>
            <a:ext cx="698400" cy="698400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C2D4F198-53FE-47CB-A264-764AADECC6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95141" y="1881188"/>
            <a:ext cx="698400" cy="698400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10ED9C9E-7B14-41B8-AD72-A7D5C7EE0B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55885" y="1881188"/>
            <a:ext cx="698238" cy="698238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99A94234-AEB9-4CD0-B61F-F125015DA1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16467" y="1881188"/>
            <a:ext cx="698400" cy="698400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E4809FAB-BF42-45DD-954A-11BDE5BAFBB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76820" y="1881188"/>
            <a:ext cx="698400" cy="698400"/>
          </a:xfrm>
          <a:prstGeom prst="rect">
            <a:avLst/>
          </a:prstGeom>
        </p:spPr>
      </p:pic>
      <p:pic>
        <p:nvPicPr>
          <p:cNvPr id="64" name="Grafik 63">
            <a:extLst>
              <a:ext uri="{FF2B5EF4-FFF2-40B4-BE49-F238E27FC236}">
                <a16:creationId xmlns:a16="http://schemas.microsoft.com/office/drawing/2014/main" id="{3F8F455E-A619-4272-861B-0F2E5B64E3B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398456" y="1881188"/>
            <a:ext cx="698400" cy="6984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073E05DC-5545-45D4-84CA-11C254A0696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858812" y="5229584"/>
            <a:ext cx="698400" cy="6984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D473C479-F5F1-42BF-A0C9-FBFFAAFAF48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398456" y="5229584"/>
            <a:ext cx="698400" cy="6984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3D3CCA6C-B0D9-4472-AEDE-97FF22BC9B3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937793" y="5229584"/>
            <a:ext cx="698400" cy="6984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66E95543-CCA1-4B70-A451-301D624C3CA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476820" y="5229584"/>
            <a:ext cx="698400" cy="6984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F6E955DB-EAF3-498E-9886-CB750B11FB7D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016467" y="5229584"/>
            <a:ext cx="698400" cy="6984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E4F16B85-51C4-4723-ACB1-7EBE5562126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555804" y="5229584"/>
            <a:ext cx="698400" cy="6984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B40B9610-DD29-464B-A6FC-19199E8FC3F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095141" y="5229584"/>
            <a:ext cx="698400" cy="698400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10D0C691-BC11-40D1-B6A0-39AEF89632D9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34478" y="5229584"/>
            <a:ext cx="698400" cy="698400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7DEAFC02-E0F1-42EB-A328-FAD344997E4A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858812" y="3537396"/>
            <a:ext cx="698400" cy="698400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23F54E38-59C2-43AB-B50B-948E2ED3AF1C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9398456" y="3537396"/>
            <a:ext cx="698400" cy="698400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97461C06-A85A-40E8-8071-6E41D146C80E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7937793" y="3537396"/>
            <a:ext cx="698400" cy="698400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11759213-01C5-426C-8573-6822F9447F0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2095141" y="3537396"/>
            <a:ext cx="698400" cy="698400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70D6ADB6-4A83-4E0A-9C24-19CD08E5BE44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555804" y="3537396"/>
            <a:ext cx="698400" cy="698400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66D028F8-84EF-46CB-92B7-8390E22A755F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634478" y="3537396"/>
            <a:ext cx="698400" cy="698400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EB057CE6-AF64-429A-916F-30D7E0036170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0858812" y="1881188"/>
            <a:ext cx="698400" cy="698400"/>
          </a:xfrm>
          <a:prstGeom prst="rect">
            <a:avLst/>
          </a:prstGeom>
        </p:spPr>
      </p:pic>
      <p:sp>
        <p:nvSpPr>
          <p:cNvPr id="65" name="Rechteck 64">
            <a:extLst>
              <a:ext uri="{FF2B5EF4-FFF2-40B4-BE49-F238E27FC236}">
                <a16:creationId xmlns:a16="http://schemas.microsoft.com/office/drawing/2014/main" id="{E3D398EC-C13E-4D83-9522-E22308737D74}"/>
              </a:ext>
            </a:extLst>
          </p:cNvPr>
          <p:cNvSpPr/>
          <p:nvPr/>
        </p:nvSpPr>
        <p:spPr>
          <a:xfrm>
            <a:off x="1063201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Click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17CE601D-5624-4311-AA71-B5FD6FD91952}"/>
              </a:ext>
            </a:extLst>
          </p:cNvPr>
          <p:cNvSpPr/>
          <p:nvPr/>
        </p:nvSpPr>
        <p:spPr>
          <a:xfrm>
            <a:off x="407678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Co-Working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2CA4A29-2C91-441D-A2D4-0B10EDC5AE86}"/>
              </a:ext>
            </a:extLst>
          </p:cNvPr>
          <p:cNvSpPr/>
          <p:nvPr/>
        </p:nvSpPr>
        <p:spPr>
          <a:xfrm>
            <a:off x="186834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Daumen hoch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911AE7A-D454-4491-8E70-FE66C3132BFB}"/>
              </a:ext>
            </a:extLst>
          </p:cNvPr>
          <p:cNvSpPr/>
          <p:nvPr/>
        </p:nvSpPr>
        <p:spPr>
          <a:xfrm>
            <a:off x="332900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Daumen runter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B2EF0163-F16D-4FB4-9232-70E0FE41E04C}"/>
              </a:ext>
            </a:extLst>
          </p:cNvPr>
          <p:cNvSpPr/>
          <p:nvPr/>
        </p:nvSpPr>
        <p:spPr>
          <a:xfrm>
            <a:off x="478966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Fernwärm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07B510B-37FD-41AE-B854-4129D43BD31D}"/>
              </a:ext>
            </a:extLst>
          </p:cNvPr>
          <p:cNvSpPr/>
          <p:nvPr/>
        </p:nvSpPr>
        <p:spPr>
          <a:xfrm>
            <a:off x="625002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tabilität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C13E2395-63AC-454B-B51E-B097B0B7ABBD}"/>
              </a:ext>
            </a:extLst>
          </p:cNvPr>
          <p:cNvSpPr/>
          <p:nvPr/>
        </p:nvSpPr>
        <p:spPr>
          <a:xfrm>
            <a:off x="771099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Fernwärme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A3E71BD8-59EB-4298-8D46-A54D8866898D}"/>
              </a:ext>
            </a:extLst>
          </p:cNvPr>
          <p:cNvSpPr/>
          <p:nvPr/>
        </p:nvSpPr>
        <p:spPr>
          <a:xfrm>
            <a:off x="9171656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Gebäude Infrastruktur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D0F7486-25E8-41DD-98D4-7C398153BBC7}"/>
              </a:ext>
            </a:extLst>
          </p:cNvPr>
          <p:cNvSpPr/>
          <p:nvPr/>
        </p:nvSpPr>
        <p:spPr>
          <a:xfrm>
            <a:off x="10632012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Gedeck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ABC7CB-883D-4681-BABE-BA17CDF8A16F}"/>
              </a:ext>
            </a:extLst>
          </p:cNvPr>
          <p:cNvSpPr/>
          <p:nvPr/>
        </p:nvSpPr>
        <p:spPr>
          <a:xfrm>
            <a:off x="407678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Idee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A21F183-E91B-46F1-B94A-CB446DAB648C}"/>
              </a:ext>
            </a:extLst>
          </p:cNvPr>
          <p:cNvSpPr/>
          <p:nvPr/>
        </p:nvSpPr>
        <p:spPr>
          <a:xfrm>
            <a:off x="1868341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Karriereportal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6563531-A7B8-44C0-9DEF-ADA8B4131F3B}"/>
              </a:ext>
            </a:extLst>
          </p:cNvPr>
          <p:cNvSpPr/>
          <p:nvPr/>
        </p:nvSpPr>
        <p:spPr>
          <a:xfrm>
            <a:off x="3329004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Kompetenz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599EE185-50B4-49C5-906C-1251E6D59DCE}"/>
              </a:ext>
            </a:extLst>
          </p:cNvPr>
          <p:cNvSpPr/>
          <p:nvPr/>
        </p:nvSpPr>
        <p:spPr>
          <a:xfrm>
            <a:off x="478966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Kraftwerk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4D92D78-3827-49E5-8758-02D1B9B62EB9}"/>
              </a:ext>
            </a:extLst>
          </p:cNvPr>
          <p:cNvSpPr/>
          <p:nvPr/>
        </p:nvSpPr>
        <p:spPr>
          <a:xfrm>
            <a:off x="6188040" y="6057316"/>
            <a:ext cx="127596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Mehr Unternehmens-struktur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B7BA7B6C-0D13-4A1F-B3B7-F466EA48245B}"/>
              </a:ext>
            </a:extLst>
          </p:cNvPr>
          <p:cNvSpPr/>
          <p:nvPr/>
        </p:nvSpPr>
        <p:spPr>
          <a:xfrm>
            <a:off x="7710993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Nachhaltigkeit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87818438-8FDD-4F28-A6ED-D4CA2E158C6F}"/>
              </a:ext>
            </a:extLst>
          </p:cNvPr>
          <p:cNvSpPr/>
          <p:nvPr/>
        </p:nvSpPr>
        <p:spPr>
          <a:xfrm>
            <a:off x="9171656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Prozess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BFEC14D1-9735-4B1F-85E8-87D691CE9864}"/>
              </a:ext>
            </a:extLst>
          </p:cNvPr>
          <p:cNvSpPr/>
          <p:nvPr/>
        </p:nvSpPr>
        <p:spPr>
          <a:xfrm>
            <a:off x="10632012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Rech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BA4F057-EFAE-49BD-9303-D05A5B693726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5016467" y="3537396"/>
            <a:ext cx="698400" cy="6984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5A9C014-471A-45FB-A18D-822CC5F9680D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6476820" y="3537396"/>
            <a:ext cx="698400" cy="698400"/>
          </a:xfrm>
          <a:prstGeom prst="rect">
            <a:avLst/>
          </a:prstGeom>
        </p:spPr>
      </p:pic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B193C101-57A6-42AF-A9CB-933D2231E7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0C23C926-0B14-4013-BCBE-230D5C6A9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31</a:t>
            </a:fld>
            <a:endParaRPr lang="de-DE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F024EBC-FE17-644D-73AD-5482E1753242}"/>
              </a:ext>
            </a:extLst>
          </p:cNvPr>
          <p:cNvSpPr/>
          <p:nvPr/>
        </p:nvSpPr>
        <p:spPr>
          <a:xfrm>
            <a:off x="7710454" y="270497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parsam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74A4A09-9783-52AB-F535-30DB6CAB5961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7937955" y="1877246"/>
            <a:ext cx="698238" cy="698238"/>
          </a:xfrm>
          <a:prstGeom prst="rect">
            <a:avLst/>
          </a:prstGeom>
        </p:spPr>
      </p:pic>
      <p:pic>
        <p:nvPicPr>
          <p:cNvPr id="17" name="Grafik 16">
            <a:hlinkClick r:id="rId50"/>
            <a:extLst>
              <a:ext uri="{FF2B5EF4-FFF2-40B4-BE49-F238E27FC236}">
                <a16:creationId xmlns:a16="http://schemas.microsoft.com/office/drawing/2014/main" id="{05762C0D-A1A9-EFEE-6F49-8F7138DC7618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8001560" y="186097"/>
            <a:ext cx="1478440" cy="1517970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632FD431-686F-37A4-02C1-6318FF909923}"/>
              </a:ext>
            </a:extLst>
          </p:cNvPr>
          <p:cNvSpPr txBox="1"/>
          <p:nvPr/>
        </p:nvSpPr>
        <p:spPr>
          <a:xfrm>
            <a:off x="8001558" y="437251"/>
            <a:ext cx="147844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200" b="1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UR </a:t>
            </a: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mpuls-orange,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Tiefenblau,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chwarz oder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Weiß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BB52201-6689-AC1E-2555-2F8362D75ED6}"/>
              </a:ext>
            </a:extLst>
          </p:cNvPr>
          <p:cNvSpPr txBox="1"/>
          <p:nvPr/>
        </p:nvSpPr>
        <p:spPr>
          <a:xfrm>
            <a:off x="9477414" y="865367"/>
            <a:ext cx="230401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aktuell weiter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auf Weitere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3"/>
              </a:rPr>
              <a:t>Netze BW | Design Guide –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3"/>
              </a:rPr>
              <a:t>Figma</a:t>
            </a:r>
            <a:endParaRPr lang="de-DE" sz="1000" u="sng" dirty="0">
              <a:solidFill>
                <a:srgbClr val="0563C1"/>
              </a:solidFill>
              <a:effectLst/>
              <a:ea typeface="Times New Roman" panose="02020603050405020304" pitchFamily="18" charset="0"/>
            </a:endParaRPr>
          </a:p>
          <a:p>
            <a:r>
              <a:rPr lang="de-DE" sz="1000" dirty="0"/>
              <a:t>Zugriffsanfrage bitte an </a:t>
            </a:r>
          </a:p>
          <a:p>
            <a:r>
              <a:rPr lang="de-DE" sz="1000" dirty="0">
                <a:hlinkClick r:id="rId5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d-check@netze-bw.de</a:t>
            </a:r>
            <a:r>
              <a:rPr lang="de-DE" sz="1000" dirty="0"/>
              <a:t> senden.</a:t>
            </a:r>
          </a:p>
        </p:txBody>
      </p:sp>
    </p:spTree>
    <p:extLst>
      <p:ext uri="{BB962C8B-B14F-4D97-AF65-F5344CB8AC3E}">
        <p14:creationId xmlns:p14="http://schemas.microsoft.com/office/powerpoint/2010/main" val="2238834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67F251-A456-4C65-A7B0-861ED8EEE2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3003249-304F-4A77-B4A4-14E7BE611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1D52479-6729-46E2-8820-15DC1FB1C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32</a:t>
            </a:fld>
            <a:endParaRPr lang="de-DE" dirty="0"/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B03F3097-3614-4345-A23D-C5E2E235AF11}"/>
              </a:ext>
            </a:extLst>
          </p:cNvPr>
          <p:cNvSpPr/>
          <p:nvPr/>
        </p:nvSpPr>
        <p:spPr>
          <a:xfrm>
            <a:off x="407988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mart Mobility Portal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DE5CD666-CBD0-4280-9B7A-0096FF4C224D}"/>
              </a:ext>
            </a:extLst>
          </p:cNvPr>
          <p:cNvSpPr/>
          <p:nvPr/>
        </p:nvSpPr>
        <p:spPr>
          <a:xfrm>
            <a:off x="1868651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Staru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FF4D4B4-ECDF-47A1-8638-B3760843B43E}"/>
              </a:ext>
            </a:extLst>
          </p:cNvPr>
          <p:cNvSpPr/>
          <p:nvPr/>
        </p:nvSpPr>
        <p:spPr>
          <a:xfrm>
            <a:off x="3329314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tift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517A7767-DBDF-4B7C-B396-3F1F8FA4AD49}"/>
              </a:ext>
            </a:extLst>
          </p:cNvPr>
          <p:cNvSpPr/>
          <p:nvPr/>
        </p:nvSpPr>
        <p:spPr>
          <a:xfrm>
            <a:off x="4789977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tillarbeit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9D058F81-259E-466B-8868-9DB0883DF230}"/>
              </a:ext>
            </a:extLst>
          </p:cNvPr>
          <p:cNvSpPr/>
          <p:nvPr/>
        </p:nvSpPr>
        <p:spPr>
          <a:xfrm>
            <a:off x="625064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Sustainable</a:t>
            </a:r>
            <a:r>
              <a:rPr lang="de-DE" sz="1000" dirty="0">
                <a:solidFill>
                  <a:schemeClr val="tx1"/>
                </a:solidFill>
              </a:rPr>
              <a:t> Finance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8A3F1943-7390-4124-AC5C-A873AF12B8E0}"/>
              </a:ext>
            </a:extLst>
          </p:cNvPr>
          <p:cNvSpPr/>
          <p:nvPr/>
        </p:nvSpPr>
        <p:spPr>
          <a:xfrm>
            <a:off x="7711303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Umfassend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1EE81207-4466-4132-AE8C-F11629996205}"/>
              </a:ext>
            </a:extLst>
          </p:cNvPr>
          <p:cNvSpPr/>
          <p:nvPr/>
        </p:nvSpPr>
        <p:spPr>
          <a:xfrm>
            <a:off x="917196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Wasserkarft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C053210F-DE9B-4D2E-896D-02202E2D6CCD}"/>
              </a:ext>
            </a:extLst>
          </p:cNvPr>
          <p:cNvSpPr/>
          <p:nvPr/>
        </p:nvSpPr>
        <p:spPr>
          <a:xfrm>
            <a:off x="1063263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Wegweiser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D42406A7-8DB8-4EAF-9E7D-2378FFCAA246}"/>
              </a:ext>
            </a:extLst>
          </p:cNvPr>
          <p:cNvSpPr/>
          <p:nvPr/>
        </p:nvSpPr>
        <p:spPr>
          <a:xfrm>
            <a:off x="407988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Wissen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95B37BBB-7412-488F-8DFC-761C88EC922F}"/>
              </a:ext>
            </a:extLst>
          </p:cNvPr>
          <p:cNvSpPr/>
          <p:nvPr/>
        </p:nvSpPr>
        <p:spPr>
          <a:xfrm>
            <a:off x="186865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Wohnquartier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12C91F8-7AC8-48F1-AFE7-AC37C6F46D87}"/>
              </a:ext>
            </a:extLst>
          </p:cNvPr>
          <p:cNvSpPr/>
          <p:nvPr/>
        </p:nvSpPr>
        <p:spPr>
          <a:xfrm>
            <a:off x="332931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Zahnrad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AA882B92-F3C6-4085-959C-08FE6E863075}"/>
              </a:ext>
            </a:extLst>
          </p:cNvPr>
          <p:cNvSpPr/>
          <p:nvPr/>
        </p:nvSpPr>
        <p:spPr>
          <a:xfrm>
            <a:off x="478997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Ziel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D19E7CE0-BD9E-4593-91FA-F322B01C86F3}"/>
              </a:ext>
            </a:extLst>
          </p:cNvPr>
          <p:cNvSpPr/>
          <p:nvPr/>
        </p:nvSpPr>
        <p:spPr>
          <a:xfrm>
            <a:off x="625064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Bibliothek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412F22EC-21C7-4A5A-8FF5-385404243F69}"/>
              </a:ext>
            </a:extLst>
          </p:cNvPr>
          <p:cNvSpPr/>
          <p:nvPr/>
        </p:nvSpPr>
        <p:spPr>
          <a:xfrm>
            <a:off x="771130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Breitband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DBC0DBC9-8105-4FB1-BC71-03FCFF756F77}"/>
              </a:ext>
            </a:extLst>
          </p:cNvPr>
          <p:cNvSpPr/>
          <p:nvPr/>
        </p:nvSpPr>
        <p:spPr>
          <a:xfrm>
            <a:off x="917118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Mentale Gesundheit</a:t>
            </a:r>
          </a:p>
        </p:txBody>
      </p:sp>
      <p:pic>
        <p:nvPicPr>
          <p:cNvPr id="250" name="Grafik 249">
            <a:extLst>
              <a:ext uri="{FF2B5EF4-FFF2-40B4-BE49-F238E27FC236}">
                <a16:creationId xmlns:a16="http://schemas.microsoft.com/office/drawing/2014/main" id="{AFA9FCB2-2EB2-450F-AE91-D5A2D887F8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16777" y="3537396"/>
            <a:ext cx="698400" cy="698400"/>
          </a:xfrm>
          <a:prstGeom prst="rect">
            <a:avLst/>
          </a:prstGeom>
        </p:spPr>
      </p:pic>
      <p:pic>
        <p:nvPicPr>
          <p:cNvPr id="251" name="Grafik 250">
            <a:extLst>
              <a:ext uri="{FF2B5EF4-FFF2-40B4-BE49-F238E27FC236}">
                <a16:creationId xmlns:a16="http://schemas.microsoft.com/office/drawing/2014/main" id="{5736ACE6-6238-4F31-8158-801707CBAB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56114" y="3537396"/>
            <a:ext cx="698400" cy="698400"/>
          </a:xfrm>
          <a:prstGeom prst="rect">
            <a:avLst/>
          </a:prstGeom>
        </p:spPr>
      </p:pic>
      <p:pic>
        <p:nvPicPr>
          <p:cNvPr id="252" name="Grafik 251">
            <a:extLst>
              <a:ext uri="{FF2B5EF4-FFF2-40B4-BE49-F238E27FC236}">
                <a16:creationId xmlns:a16="http://schemas.microsoft.com/office/drawing/2014/main" id="{3C6C1402-1CDA-436F-81C9-BBFF05DF15A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095451" y="3537396"/>
            <a:ext cx="698400" cy="698400"/>
          </a:xfrm>
          <a:prstGeom prst="rect">
            <a:avLst/>
          </a:prstGeom>
        </p:spPr>
      </p:pic>
      <p:pic>
        <p:nvPicPr>
          <p:cNvPr id="253" name="Grafik 252">
            <a:extLst>
              <a:ext uri="{FF2B5EF4-FFF2-40B4-BE49-F238E27FC236}">
                <a16:creationId xmlns:a16="http://schemas.microsoft.com/office/drawing/2014/main" id="{E2E159A2-BA94-4AF8-BFD4-C76217A87C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4788" y="3537396"/>
            <a:ext cx="698400" cy="698400"/>
          </a:xfrm>
          <a:prstGeom prst="rect">
            <a:avLst/>
          </a:prstGeom>
        </p:spPr>
      </p:pic>
      <p:pic>
        <p:nvPicPr>
          <p:cNvPr id="254" name="Grafik 253">
            <a:extLst>
              <a:ext uri="{FF2B5EF4-FFF2-40B4-BE49-F238E27FC236}">
                <a16:creationId xmlns:a16="http://schemas.microsoft.com/office/drawing/2014/main" id="{17C11745-D11B-4DB7-995D-56B14B10AC2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59432" y="1881188"/>
            <a:ext cx="698400" cy="698400"/>
          </a:xfrm>
          <a:prstGeom prst="rect">
            <a:avLst/>
          </a:prstGeom>
        </p:spPr>
      </p:pic>
      <p:pic>
        <p:nvPicPr>
          <p:cNvPr id="255" name="Grafik 254">
            <a:extLst>
              <a:ext uri="{FF2B5EF4-FFF2-40B4-BE49-F238E27FC236}">
                <a16:creationId xmlns:a16="http://schemas.microsoft.com/office/drawing/2014/main" id="{2C307BD8-F088-4AC6-981E-EE00A8C088B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398766" y="1881188"/>
            <a:ext cx="698400" cy="698400"/>
          </a:xfrm>
          <a:prstGeom prst="rect">
            <a:avLst/>
          </a:prstGeom>
        </p:spPr>
      </p:pic>
      <p:pic>
        <p:nvPicPr>
          <p:cNvPr id="256" name="Grafik 255">
            <a:extLst>
              <a:ext uri="{FF2B5EF4-FFF2-40B4-BE49-F238E27FC236}">
                <a16:creationId xmlns:a16="http://schemas.microsoft.com/office/drawing/2014/main" id="{82B49859-C140-4C4C-AD2D-7CB4EE215FC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938103" y="1881188"/>
            <a:ext cx="698400" cy="698400"/>
          </a:xfrm>
          <a:prstGeom prst="rect">
            <a:avLst/>
          </a:prstGeom>
        </p:spPr>
      </p:pic>
      <p:pic>
        <p:nvPicPr>
          <p:cNvPr id="257" name="Grafik 256">
            <a:extLst>
              <a:ext uri="{FF2B5EF4-FFF2-40B4-BE49-F238E27FC236}">
                <a16:creationId xmlns:a16="http://schemas.microsoft.com/office/drawing/2014/main" id="{A661A9AD-4606-4ECD-9C86-45378CC5F6D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477440" y="1881188"/>
            <a:ext cx="698400" cy="698400"/>
          </a:xfrm>
          <a:prstGeom prst="rect">
            <a:avLst/>
          </a:prstGeom>
        </p:spPr>
      </p:pic>
      <p:pic>
        <p:nvPicPr>
          <p:cNvPr id="258" name="Grafik 257">
            <a:extLst>
              <a:ext uri="{FF2B5EF4-FFF2-40B4-BE49-F238E27FC236}">
                <a16:creationId xmlns:a16="http://schemas.microsoft.com/office/drawing/2014/main" id="{44C62A8F-3903-467F-A2DA-07FB76C22CF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016777" y="1881188"/>
            <a:ext cx="698400" cy="698400"/>
          </a:xfrm>
          <a:prstGeom prst="rect">
            <a:avLst/>
          </a:prstGeom>
        </p:spPr>
      </p:pic>
      <p:pic>
        <p:nvPicPr>
          <p:cNvPr id="259" name="Grafik 258">
            <a:extLst>
              <a:ext uri="{FF2B5EF4-FFF2-40B4-BE49-F238E27FC236}">
                <a16:creationId xmlns:a16="http://schemas.microsoft.com/office/drawing/2014/main" id="{0964C9A2-3F4B-48E7-A672-703763857F6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556114" y="1881188"/>
            <a:ext cx="698400" cy="698400"/>
          </a:xfrm>
          <a:prstGeom prst="rect">
            <a:avLst/>
          </a:prstGeom>
        </p:spPr>
      </p:pic>
      <p:pic>
        <p:nvPicPr>
          <p:cNvPr id="260" name="Grafik 259">
            <a:extLst>
              <a:ext uri="{FF2B5EF4-FFF2-40B4-BE49-F238E27FC236}">
                <a16:creationId xmlns:a16="http://schemas.microsoft.com/office/drawing/2014/main" id="{5B69B13F-DFAC-4968-ABBF-178B04D6B06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095451" y="1881188"/>
            <a:ext cx="698400" cy="698400"/>
          </a:xfrm>
          <a:prstGeom prst="rect">
            <a:avLst/>
          </a:prstGeom>
        </p:spPr>
      </p:pic>
      <p:pic>
        <p:nvPicPr>
          <p:cNvPr id="261" name="Grafik 260">
            <a:extLst>
              <a:ext uri="{FF2B5EF4-FFF2-40B4-BE49-F238E27FC236}">
                <a16:creationId xmlns:a16="http://schemas.microsoft.com/office/drawing/2014/main" id="{DBA4E491-33C6-42A0-82CA-B4CF51EA13B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34788" y="1881188"/>
            <a:ext cx="698400" cy="698400"/>
          </a:xfrm>
          <a:prstGeom prst="rect">
            <a:avLst/>
          </a:prstGeom>
        </p:spPr>
      </p:pic>
      <p:pic>
        <p:nvPicPr>
          <p:cNvPr id="264" name="Grafik 263">
            <a:extLst>
              <a:ext uri="{FF2B5EF4-FFF2-40B4-BE49-F238E27FC236}">
                <a16:creationId xmlns:a16="http://schemas.microsoft.com/office/drawing/2014/main" id="{D2B79EC9-C4C3-4287-8DFA-0DF316D1727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7938103" y="3537396"/>
            <a:ext cx="698400" cy="698400"/>
          </a:xfrm>
          <a:prstGeom prst="rect">
            <a:avLst/>
          </a:prstGeom>
        </p:spPr>
      </p:pic>
      <p:pic>
        <p:nvPicPr>
          <p:cNvPr id="265" name="Grafik 264">
            <a:extLst>
              <a:ext uri="{FF2B5EF4-FFF2-40B4-BE49-F238E27FC236}">
                <a16:creationId xmlns:a16="http://schemas.microsoft.com/office/drawing/2014/main" id="{323B4502-615F-44C3-A5A7-6F6F4E1C38C6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477440" y="3537396"/>
            <a:ext cx="698400" cy="6984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1E48ACFF-FBB2-D05C-8886-D3D32377109E}"/>
              </a:ext>
            </a:extLst>
          </p:cNvPr>
          <p:cNvSpPr/>
          <p:nvPr/>
        </p:nvSpPr>
        <p:spPr>
          <a:xfrm>
            <a:off x="9194321" y="4363119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Wallbox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8FDF210-196F-3E4B-5FF5-E42D1C6944A8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9421822" y="3535387"/>
            <a:ext cx="698238" cy="698238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776ED95E-9982-1D38-96CE-4383FA780367}"/>
              </a:ext>
            </a:extLst>
          </p:cNvPr>
          <p:cNvSpPr/>
          <p:nvPr/>
        </p:nvSpPr>
        <p:spPr>
          <a:xfrm>
            <a:off x="407449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tabilitä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183D2E6-584B-6C5E-1198-8C07F4014E6F}"/>
              </a:ext>
            </a:extLst>
          </p:cNvPr>
          <p:cNvSpPr/>
          <p:nvPr/>
        </p:nvSpPr>
        <p:spPr>
          <a:xfrm>
            <a:off x="1868112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trom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EAEDEDE-839E-EF8E-26F4-F409ACEE5E84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634950" y="5243749"/>
            <a:ext cx="698238" cy="69823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F4FA322-A25C-DDF2-2FAC-05B8F6B9DF5C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2095613" y="5243749"/>
            <a:ext cx="698238" cy="69823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B29FF222-B6A6-47F2-1D6A-9039135F530B}"/>
              </a:ext>
            </a:extLst>
          </p:cNvPr>
          <p:cNvSpPr/>
          <p:nvPr/>
        </p:nvSpPr>
        <p:spPr>
          <a:xfrm>
            <a:off x="3328775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Zuhause lad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3E62366-5871-E0F6-3EB4-DE9449EBE39F}"/>
              </a:ext>
            </a:extLst>
          </p:cNvPr>
          <p:cNvSpPr/>
          <p:nvPr/>
        </p:nvSpPr>
        <p:spPr>
          <a:xfrm>
            <a:off x="4789438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gile Fläch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903DB8A-C15B-5545-CD6A-746A07243C09}"/>
              </a:ext>
            </a:extLst>
          </p:cNvPr>
          <p:cNvSpPr/>
          <p:nvPr/>
        </p:nvSpPr>
        <p:spPr>
          <a:xfrm>
            <a:off x="6250104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rbeitszo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C16F38A2-5F3B-9EA1-9068-DB26ECC90E3E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556276" y="5243749"/>
            <a:ext cx="698238" cy="69823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B10DBA09-50E2-D7BD-4514-72812F7413F4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5016858" y="5243749"/>
            <a:ext cx="698400" cy="6984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230B3C1-3879-F330-A38B-503011811D14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6477524" y="5243749"/>
            <a:ext cx="698400" cy="698400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1CAF8A05-90F0-CE5A-5944-2C29875C62CD}"/>
              </a:ext>
            </a:extLst>
          </p:cNvPr>
          <p:cNvSpPr/>
          <p:nvPr/>
        </p:nvSpPr>
        <p:spPr>
          <a:xfrm>
            <a:off x="10656724" y="4363119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Wasser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2655F584-73C6-98F3-545E-F8189FB43A7E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0884225" y="3535387"/>
            <a:ext cx="698238" cy="698238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E1FE7901-375C-7341-E080-A07C2FB94C2F}"/>
              </a:ext>
            </a:extLst>
          </p:cNvPr>
          <p:cNvSpPr/>
          <p:nvPr/>
        </p:nvSpPr>
        <p:spPr>
          <a:xfrm>
            <a:off x="7711300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utostrom Wallbox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CDD6A68B-2653-B633-51AB-000E43F8B2BD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7938801" y="5243749"/>
            <a:ext cx="698238" cy="698238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5C8A0EA8-CCD7-5D2A-55A6-946EDB7ABBB3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9397987" y="5243587"/>
            <a:ext cx="698400" cy="698400"/>
          </a:xfrm>
          <a:prstGeom prst="rect">
            <a:avLst/>
          </a:prstGeom>
        </p:spPr>
      </p:pic>
      <p:pic>
        <p:nvPicPr>
          <p:cNvPr id="26" name="Grafik 25">
            <a:hlinkClick r:id="rId48"/>
            <a:extLst>
              <a:ext uri="{FF2B5EF4-FFF2-40B4-BE49-F238E27FC236}">
                <a16:creationId xmlns:a16="http://schemas.microsoft.com/office/drawing/2014/main" id="{81FA4AEA-BD99-2EBE-E296-9B9A921DC6B4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8001560" y="186097"/>
            <a:ext cx="1478440" cy="1517970"/>
          </a:xfrm>
          <a:prstGeom prst="rect">
            <a:avLst/>
          </a:prstGeom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A5858B59-DBE9-3A04-8F46-4BCBC6A5751E}"/>
              </a:ext>
            </a:extLst>
          </p:cNvPr>
          <p:cNvSpPr txBox="1"/>
          <p:nvPr/>
        </p:nvSpPr>
        <p:spPr>
          <a:xfrm>
            <a:off x="8001558" y="437251"/>
            <a:ext cx="147844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200" b="1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UR </a:t>
            </a: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mpuls-orange,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Tiefenblau,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chwarz oder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Weiß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17618DA9-3427-04F1-07A6-D5D070EC771A}"/>
              </a:ext>
            </a:extLst>
          </p:cNvPr>
          <p:cNvSpPr/>
          <p:nvPr/>
        </p:nvSpPr>
        <p:spPr>
          <a:xfrm>
            <a:off x="10630535" y="6071319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Nicht buchbar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62B16260-6D01-CFEF-BEA9-C58704D0EA8B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0857335" y="5243587"/>
            <a:ext cx="698400" cy="698400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29EDA4E5-74C7-B708-4F55-045CCD2F4BE4}"/>
              </a:ext>
            </a:extLst>
          </p:cNvPr>
          <p:cNvSpPr txBox="1"/>
          <p:nvPr/>
        </p:nvSpPr>
        <p:spPr>
          <a:xfrm>
            <a:off x="9477414" y="865367"/>
            <a:ext cx="230401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aktuell weiter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auf Weitere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3"/>
              </a:rPr>
              <a:t>Netze BW | Design Guide –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3"/>
              </a:rPr>
              <a:t>Figma</a:t>
            </a:r>
            <a:endParaRPr lang="de-DE" sz="1000" u="sng" dirty="0">
              <a:solidFill>
                <a:srgbClr val="0563C1"/>
              </a:solidFill>
              <a:effectLst/>
              <a:ea typeface="Times New Roman" panose="02020603050405020304" pitchFamily="18" charset="0"/>
            </a:endParaRPr>
          </a:p>
          <a:p>
            <a:r>
              <a:rPr lang="de-DE" sz="1000" dirty="0"/>
              <a:t>Zugriffsanfrage bitte an </a:t>
            </a:r>
          </a:p>
          <a:p>
            <a:r>
              <a:rPr lang="de-DE" sz="1000" dirty="0">
                <a:hlinkClick r:id="rId5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d-check@netze-bw.de</a:t>
            </a:r>
            <a:r>
              <a:rPr lang="de-DE" sz="1000" dirty="0"/>
              <a:t> senden.</a:t>
            </a:r>
          </a:p>
        </p:txBody>
      </p:sp>
    </p:spTree>
    <p:extLst>
      <p:ext uri="{BB962C8B-B14F-4D97-AF65-F5344CB8AC3E}">
        <p14:creationId xmlns:p14="http://schemas.microsoft.com/office/powerpoint/2010/main" val="43365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ahlen</a:t>
            </a: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632E6DE4-6C1E-4A39-B242-38BBEBB8DBA3}"/>
              </a:ext>
            </a:extLst>
          </p:cNvPr>
          <p:cNvSpPr/>
          <p:nvPr/>
        </p:nvSpPr>
        <p:spPr>
          <a:xfrm>
            <a:off x="3415896" y="1916832"/>
            <a:ext cx="636870" cy="636894"/>
          </a:xfrm>
          <a:custGeom>
            <a:avLst/>
            <a:gdLst>
              <a:gd name="connsiteX0" fmla="*/ 585507 w 1173790"/>
              <a:gd name="connsiteY0" fmla="*/ 341553 h 1173835"/>
              <a:gd name="connsiteX1" fmla="*/ 401592 w 1173790"/>
              <a:gd name="connsiteY1" fmla="*/ 678170 h 1173835"/>
              <a:gd name="connsiteX2" fmla="*/ 401592 w 1173790"/>
              <a:gd name="connsiteY2" fmla="*/ 736775 h 1173835"/>
              <a:gd name="connsiteX3" fmla="*/ 620975 w 1173790"/>
              <a:gd name="connsiteY3" fmla="*/ 736775 h 1173835"/>
              <a:gd name="connsiteX4" fmla="*/ 620975 w 1173790"/>
              <a:gd name="connsiteY4" fmla="*/ 832236 h 1173835"/>
              <a:gd name="connsiteX5" fmla="*/ 697144 w 1173790"/>
              <a:gd name="connsiteY5" fmla="*/ 832236 h 1173835"/>
              <a:gd name="connsiteX6" fmla="*/ 697144 w 1173790"/>
              <a:gd name="connsiteY6" fmla="*/ 736775 h 1173835"/>
              <a:gd name="connsiteX7" fmla="*/ 772266 w 1173790"/>
              <a:gd name="connsiteY7" fmla="*/ 736775 h 1173835"/>
              <a:gd name="connsiteX8" fmla="*/ 772266 w 1173790"/>
              <a:gd name="connsiteY8" fmla="*/ 664474 h 1173835"/>
              <a:gd name="connsiteX9" fmla="*/ 697144 w 1173790"/>
              <a:gd name="connsiteY9" fmla="*/ 664474 h 1173835"/>
              <a:gd name="connsiteX10" fmla="*/ 697144 w 1173790"/>
              <a:gd name="connsiteY10" fmla="*/ 532498 h 1173835"/>
              <a:gd name="connsiteX11" fmla="*/ 620975 w 1173790"/>
              <a:gd name="connsiteY11" fmla="*/ 532498 h 1173835"/>
              <a:gd name="connsiteX12" fmla="*/ 620975 w 1173790"/>
              <a:gd name="connsiteY12" fmla="*/ 664474 h 1173835"/>
              <a:gd name="connsiteX13" fmla="*/ 493208 w 1173790"/>
              <a:gd name="connsiteY13" fmla="*/ 664474 h 1173835"/>
              <a:gd name="connsiteX14" fmla="*/ 671868 w 1173790"/>
              <a:gd name="connsiteY14" fmla="*/ 341553 h 1173835"/>
              <a:gd name="connsiteX15" fmla="*/ 585507 w 1173790"/>
              <a:gd name="connsiteY15" fmla="*/ 341553 h 1173835"/>
              <a:gd name="connsiteX16" fmla="*/ 586895 w 1173790"/>
              <a:gd name="connsiteY16" fmla="*/ 0 h 1173835"/>
              <a:gd name="connsiteX17" fmla="*/ 0 w 1173790"/>
              <a:gd name="connsiteY17" fmla="*/ 586918 h 1173835"/>
              <a:gd name="connsiteX18" fmla="*/ 39131 w 1173790"/>
              <a:gd name="connsiteY18" fmla="*/ 802115 h 1173835"/>
              <a:gd name="connsiteX19" fmla="*/ 90001 w 1173790"/>
              <a:gd name="connsiteY19" fmla="*/ 825593 h 1173835"/>
              <a:gd name="connsiteX20" fmla="*/ 113480 w 1173790"/>
              <a:gd name="connsiteY20" fmla="*/ 774723 h 1173835"/>
              <a:gd name="connsiteX21" fmla="*/ 78262 w 1173790"/>
              <a:gd name="connsiteY21" fmla="*/ 586918 h 1173835"/>
              <a:gd name="connsiteX22" fmla="*/ 586895 w 1173790"/>
              <a:gd name="connsiteY22" fmla="*/ 78262 h 1173835"/>
              <a:gd name="connsiteX23" fmla="*/ 1095528 w 1173790"/>
              <a:gd name="connsiteY23" fmla="*/ 586918 h 1173835"/>
              <a:gd name="connsiteX24" fmla="*/ 586895 w 1173790"/>
              <a:gd name="connsiteY24" fmla="*/ 1095573 h 1173835"/>
              <a:gd name="connsiteX25" fmla="*/ 219110 w 1173790"/>
              <a:gd name="connsiteY25" fmla="*/ 939073 h 1173835"/>
              <a:gd name="connsiteX26" fmla="*/ 164327 w 1173790"/>
              <a:gd name="connsiteY26" fmla="*/ 939073 h 1173835"/>
              <a:gd name="connsiteX27" fmla="*/ 164327 w 1173790"/>
              <a:gd name="connsiteY27" fmla="*/ 993856 h 1173835"/>
              <a:gd name="connsiteX28" fmla="*/ 586895 w 1173790"/>
              <a:gd name="connsiteY28" fmla="*/ 1173835 h 1173835"/>
              <a:gd name="connsiteX29" fmla="*/ 1173790 w 1173790"/>
              <a:gd name="connsiteY29" fmla="*/ 586918 h 1173835"/>
              <a:gd name="connsiteX30" fmla="*/ 586895 w 1173790"/>
              <a:gd name="connsiteY30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173790" h="1173835">
                <a:moveTo>
                  <a:pt x="585507" y="341553"/>
                </a:moveTo>
                <a:lnTo>
                  <a:pt x="401592" y="678170"/>
                </a:lnTo>
                <a:lnTo>
                  <a:pt x="401592" y="736775"/>
                </a:lnTo>
                <a:lnTo>
                  <a:pt x="620975" y="736775"/>
                </a:lnTo>
                <a:lnTo>
                  <a:pt x="620975" y="832236"/>
                </a:lnTo>
                <a:lnTo>
                  <a:pt x="697144" y="832236"/>
                </a:lnTo>
                <a:lnTo>
                  <a:pt x="697144" y="736775"/>
                </a:lnTo>
                <a:lnTo>
                  <a:pt x="772266" y="736775"/>
                </a:lnTo>
                <a:lnTo>
                  <a:pt x="772266" y="664474"/>
                </a:lnTo>
                <a:lnTo>
                  <a:pt x="697144" y="664474"/>
                </a:lnTo>
                <a:lnTo>
                  <a:pt x="697144" y="532498"/>
                </a:lnTo>
                <a:lnTo>
                  <a:pt x="620975" y="532498"/>
                </a:lnTo>
                <a:lnTo>
                  <a:pt x="620975" y="664474"/>
                </a:lnTo>
                <a:lnTo>
                  <a:pt x="493208" y="664474"/>
                </a:lnTo>
                <a:lnTo>
                  <a:pt x="671868" y="341553"/>
                </a:lnTo>
                <a:lnTo>
                  <a:pt x="585507" y="341553"/>
                </a:ln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4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9129DE3C-9607-412C-97C7-7CAF55F92455}"/>
              </a:ext>
            </a:extLst>
          </p:cNvPr>
          <p:cNvSpPr/>
          <p:nvPr/>
        </p:nvSpPr>
        <p:spPr>
          <a:xfrm>
            <a:off x="5414121" y="1916832"/>
            <a:ext cx="636869" cy="636894"/>
          </a:xfrm>
          <a:custGeom>
            <a:avLst/>
            <a:gdLst>
              <a:gd name="connsiteX0" fmla="*/ 594266 w 1173789"/>
              <a:gd name="connsiteY0" fmla="*/ 337003 h 1173835"/>
              <a:gd name="connsiteX1" fmla="*/ 452826 w 1173789"/>
              <a:gd name="connsiteY1" fmla="*/ 549698 h 1173835"/>
              <a:gd name="connsiteX2" fmla="*/ 408599 w 1173789"/>
              <a:gd name="connsiteY2" fmla="*/ 673597 h 1173835"/>
              <a:gd name="connsiteX3" fmla="*/ 586895 w 1173789"/>
              <a:gd name="connsiteY3" fmla="*/ 836809 h 1173835"/>
              <a:gd name="connsiteX4" fmla="*/ 765191 w 1173789"/>
              <a:gd name="connsiteY4" fmla="*/ 673597 h 1173835"/>
              <a:gd name="connsiteX5" fmla="*/ 600227 w 1173789"/>
              <a:gd name="connsiteY5" fmla="*/ 510385 h 1173835"/>
              <a:gd name="connsiteX6" fmla="*/ 562324 w 1173789"/>
              <a:gd name="connsiteY6" fmla="*/ 515299 h 1173835"/>
              <a:gd name="connsiteX7" fmla="*/ 687270 w 1173789"/>
              <a:gd name="connsiteY7" fmla="*/ 337003 h 1173835"/>
              <a:gd name="connsiteX8" fmla="*/ 594266 w 1173789"/>
              <a:gd name="connsiteY8" fmla="*/ 337003 h 1173835"/>
              <a:gd name="connsiteX9" fmla="*/ 586895 w 1173789"/>
              <a:gd name="connsiteY9" fmla="*/ 580934 h 1173835"/>
              <a:gd name="connsiteX10" fmla="*/ 686588 w 1173789"/>
              <a:gd name="connsiteY10" fmla="*/ 673597 h 1173835"/>
              <a:gd name="connsiteX11" fmla="*/ 586895 w 1173789"/>
              <a:gd name="connsiteY11" fmla="*/ 766260 h 1173835"/>
              <a:gd name="connsiteX12" fmla="*/ 487202 w 1173789"/>
              <a:gd name="connsiteY12" fmla="*/ 673597 h 1173835"/>
              <a:gd name="connsiteX13" fmla="*/ 586895 w 1173789"/>
              <a:gd name="connsiteY13" fmla="*/ 580934 h 1173835"/>
              <a:gd name="connsiteX14" fmla="*/ 586895 w 1173789"/>
              <a:gd name="connsiteY14" fmla="*/ 0 h 1173835"/>
              <a:gd name="connsiteX15" fmla="*/ 0 w 1173789"/>
              <a:gd name="connsiteY15" fmla="*/ 586918 h 1173835"/>
              <a:gd name="connsiteX16" fmla="*/ 39131 w 1173789"/>
              <a:gd name="connsiteY16" fmla="*/ 802115 h 1173835"/>
              <a:gd name="connsiteX17" fmla="*/ 90001 w 1173789"/>
              <a:gd name="connsiteY17" fmla="*/ 825593 h 1173835"/>
              <a:gd name="connsiteX18" fmla="*/ 113480 w 1173789"/>
              <a:gd name="connsiteY18" fmla="*/ 774723 h 1173835"/>
              <a:gd name="connsiteX19" fmla="*/ 78262 w 1173789"/>
              <a:gd name="connsiteY19" fmla="*/ 586918 h 1173835"/>
              <a:gd name="connsiteX20" fmla="*/ 586895 w 1173789"/>
              <a:gd name="connsiteY20" fmla="*/ 78262 h 1173835"/>
              <a:gd name="connsiteX21" fmla="*/ 1095528 w 1173789"/>
              <a:gd name="connsiteY21" fmla="*/ 586918 h 1173835"/>
              <a:gd name="connsiteX22" fmla="*/ 586895 w 1173789"/>
              <a:gd name="connsiteY22" fmla="*/ 1095573 h 1173835"/>
              <a:gd name="connsiteX23" fmla="*/ 219110 w 1173789"/>
              <a:gd name="connsiteY23" fmla="*/ 939073 h 1173835"/>
              <a:gd name="connsiteX24" fmla="*/ 164327 w 1173789"/>
              <a:gd name="connsiteY24" fmla="*/ 939073 h 1173835"/>
              <a:gd name="connsiteX25" fmla="*/ 164327 w 1173789"/>
              <a:gd name="connsiteY25" fmla="*/ 993856 h 1173835"/>
              <a:gd name="connsiteX26" fmla="*/ 586895 w 1173789"/>
              <a:gd name="connsiteY26" fmla="*/ 1173835 h 1173835"/>
              <a:gd name="connsiteX27" fmla="*/ 1173790 w 1173789"/>
              <a:gd name="connsiteY27" fmla="*/ 586918 h 1173835"/>
              <a:gd name="connsiteX28" fmla="*/ 586895 w 1173789"/>
              <a:gd name="connsiteY28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173789" h="1173835">
                <a:moveTo>
                  <a:pt x="594266" y="337003"/>
                </a:moveTo>
                <a:lnTo>
                  <a:pt x="452826" y="549698"/>
                </a:lnTo>
                <a:cubicBezTo>
                  <a:pt x="424047" y="592514"/>
                  <a:pt x="408599" y="630417"/>
                  <a:pt x="408599" y="673597"/>
                </a:cubicBezTo>
                <a:cubicBezTo>
                  <a:pt x="408599" y="766965"/>
                  <a:pt x="485109" y="836809"/>
                  <a:pt x="586895" y="836809"/>
                </a:cubicBezTo>
                <a:cubicBezTo>
                  <a:pt x="689045" y="836809"/>
                  <a:pt x="765191" y="766965"/>
                  <a:pt x="765191" y="673597"/>
                </a:cubicBezTo>
                <a:cubicBezTo>
                  <a:pt x="765191" y="580229"/>
                  <a:pt x="690069" y="510385"/>
                  <a:pt x="600227" y="510385"/>
                </a:cubicBezTo>
                <a:cubicBezTo>
                  <a:pt x="583733" y="510385"/>
                  <a:pt x="571447" y="512842"/>
                  <a:pt x="562324" y="515299"/>
                </a:cubicBezTo>
                <a:lnTo>
                  <a:pt x="687270" y="337003"/>
                </a:lnTo>
                <a:lnTo>
                  <a:pt x="594266" y="337003"/>
                </a:lnTo>
                <a:close/>
                <a:moveTo>
                  <a:pt x="586895" y="580934"/>
                </a:moveTo>
                <a:cubicBezTo>
                  <a:pt x="643748" y="580934"/>
                  <a:pt x="686588" y="618837"/>
                  <a:pt x="686588" y="673597"/>
                </a:cubicBezTo>
                <a:cubicBezTo>
                  <a:pt x="686588" y="728357"/>
                  <a:pt x="643771" y="766260"/>
                  <a:pt x="586895" y="766260"/>
                </a:cubicBezTo>
                <a:cubicBezTo>
                  <a:pt x="530383" y="766260"/>
                  <a:pt x="487202" y="728699"/>
                  <a:pt x="487202" y="673597"/>
                </a:cubicBezTo>
                <a:cubicBezTo>
                  <a:pt x="487202" y="618859"/>
                  <a:pt x="530383" y="580934"/>
                  <a:pt x="586895" y="580934"/>
                </a:cubicBez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3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5" y="1036877"/>
                  <a:pt x="219110" y="939073"/>
                </a:cubicBezTo>
                <a:cubicBezTo>
                  <a:pt x="203458" y="923420"/>
                  <a:pt x="179980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0E8BE1B3-021B-42D3-8E84-F7E98348DF49}"/>
              </a:ext>
            </a:extLst>
          </p:cNvPr>
          <p:cNvSpPr/>
          <p:nvPr/>
        </p:nvSpPr>
        <p:spPr>
          <a:xfrm>
            <a:off x="4415009" y="1916832"/>
            <a:ext cx="636869" cy="636894"/>
          </a:xfrm>
          <a:custGeom>
            <a:avLst/>
            <a:gdLst>
              <a:gd name="connsiteX0" fmla="*/ 585826 w 1173789"/>
              <a:gd name="connsiteY0" fmla="*/ 764326 h 1173835"/>
              <a:gd name="connsiteX1" fmla="*/ 465794 w 1173789"/>
              <a:gd name="connsiteY1" fmla="*/ 708860 h 1173835"/>
              <a:gd name="connsiteX2" fmla="*/ 415242 w 1173789"/>
              <a:gd name="connsiteY2" fmla="*/ 758343 h 1173835"/>
              <a:gd name="connsiteX3" fmla="*/ 586167 w 1173789"/>
              <a:gd name="connsiteY3" fmla="*/ 836968 h 1173835"/>
              <a:gd name="connsiteX4" fmla="*/ 758502 w 1173789"/>
              <a:gd name="connsiteY4" fmla="*/ 674803 h 1173835"/>
              <a:gd name="connsiteX5" fmla="*/ 590012 w 1173789"/>
              <a:gd name="connsiteY5" fmla="*/ 527379 h 1173835"/>
              <a:gd name="connsiteX6" fmla="*/ 525423 w 1173789"/>
              <a:gd name="connsiteY6" fmla="*/ 527379 h 1173835"/>
              <a:gd name="connsiteX7" fmla="*/ 527880 w 1173789"/>
              <a:gd name="connsiteY7" fmla="*/ 408736 h 1173835"/>
              <a:gd name="connsiteX8" fmla="*/ 733204 w 1173789"/>
              <a:gd name="connsiteY8" fmla="*/ 408736 h 1173835"/>
              <a:gd name="connsiteX9" fmla="*/ 733204 w 1173789"/>
              <a:gd name="connsiteY9" fmla="*/ 336776 h 1173835"/>
              <a:gd name="connsiteX10" fmla="*/ 458059 w 1173789"/>
              <a:gd name="connsiteY10" fmla="*/ 336776 h 1173835"/>
              <a:gd name="connsiteX11" fmla="*/ 453486 w 1173789"/>
              <a:gd name="connsiteY11" fmla="*/ 599317 h 1173835"/>
              <a:gd name="connsiteX12" fmla="*/ 566511 w 1173789"/>
              <a:gd name="connsiteY12" fmla="*/ 599317 h 1173835"/>
              <a:gd name="connsiteX13" fmla="*/ 679171 w 1173789"/>
              <a:gd name="connsiteY13" fmla="*/ 681446 h 1173835"/>
              <a:gd name="connsiteX14" fmla="*/ 585826 w 1173789"/>
              <a:gd name="connsiteY14" fmla="*/ 764326 h 1173835"/>
              <a:gd name="connsiteX15" fmla="*/ 586895 w 1173789"/>
              <a:gd name="connsiteY15" fmla="*/ 0 h 1173835"/>
              <a:gd name="connsiteX16" fmla="*/ 0 w 1173789"/>
              <a:gd name="connsiteY16" fmla="*/ 586918 h 1173835"/>
              <a:gd name="connsiteX17" fmla="*/ 39131 w 1173789"/>
              <a:gd name="connsiteY17" fmla="*/ 802115 h 1173835"/>
              <a:gd name="connsiteX18" fmla="*/ 90001 w 1173789"/>
              <a:gd name="connsiteY18" fmla="*/ 825593 h 1173835"/>
              <a:gd name="connsiteX19" fmla="*/ 113480 w 1173789"/>
              <a:gd name="connsiteY19" fmla="*/ 774723 h 1173835"/>
              <a:gd name="connsiteX20" fmla="*/ 78262 w 1173789"/>
              <a:gd name="connsiteY20" fmla="*/ 586918 h 1173835"/>
              <a:gd name="connsiteX21" fmla="*/ 586895 w 1173789"/>
              <a:gd name="connsiteY21" fmla="*/ 78262 h 1173835"/>
              <a:gd name="connsiteX22" fmla="*/ 1095528 w 1173789"/>
              <a:gd name="connsiteY22" fmla="*/ 586918 h 1173835"/>
              <a:gd name="connsiteX23" fmla="*/ 586895 w 1173789"/>
              <a:gd name="connsiteY23" fmla="*/ 1095573 h 1173835"/>
              <a:gd name="connsiteX24" fmla="*/ 219110 w 1173789"/>
              <a:gd name="connsiteY24" fmla="*/ 939073 h 1173835"/>
              <a:gd name="connsiteX25" fmla="*/ 164327 w 1173789"/>
              <a:gd name="connsiteY25" fmla="*/ 939073 h 1173835"/>
              <a:gd name="connsiteX26" fmla="*/ 164327 w 1173789"/>
              <a:gd name="connsiteY26" fmla="*/ 993856 h 1173835"/>
              <a:gd name="connsiteX27" fmla="*/ 586895 w 1173789"/>
              <a:gd name="connsiteY27" fmla="*/ 1173835 h 1173835"/>
              <a:gd name="connsiteX28" fmla="*/ 1173790 w 1173789"/>
              <a:gd name="connsiteY28" fmla="*/ 586918 h 1173835"/>
              <a:gd name="connsiteX29" fmla="*/ 586895 w 1173789"/>
              <a:gd name="connsiteY29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173789" h="1173835">
                <a:moveTo>
                  <a:pt x="585826" y="764326"/>
                </a:moveTo>
                <a:cubicBezTo>
                  <a:pt x="541963" y="764326"/>
                  <a:pt x="494915" y="743259"/>
                  <a:pt x="465794" y="708860"/>
                </a:cubicBezTo>
                <a:lnTo>
                  <a:pt x="415242" y="758343"/>
                </a:lnTo>
                <a:cubicBezTo>
                  <a:pt x="457354" y="810282"/>
                  <a:pt x="514935" y="836968"/>
                  <a:pt x="586167" y="836968"/>
                </a:cubicBezTo>
                <a:cubicBezTo>
                  <a:pt x="678125" y="836968"/>
                  <a:pt x="758502" y="781161"/>
                  <a:pt x="758502" y="674803"/>
                </a:cubicBezTo>
                <a:cubicBezTo>
                  <a:pt x="758502" y="597929"/>
                  <a:pt x="705152" y="527379"/>
                  <a:pt x="590012" y="527379"/>
                </a:cubicBezTo>
                <a:lnTo>
                  <a:pt x="525423" y="527379"/>
                </a:lnTo>
                <a:lnTo>
                  <a:pt x="527880" y="408736"/>
                </a:lnTo>
                <a:lnTo>
                  <a:pt x="733204" y="408736"/>
                </a:lnTo>
                <a:lnTo>
                  <a:pt x="733204" y="336776"/>
                </a:lnTo>
                <a:lnTo>
                  <a:pt x="458059" y="336776"/>
                </a:lnTo>
                <a:lnTo>
                  <a:pt x="453486" y="599317"/>
                </a:lnTo>
                <a:lnTo>
                  <a:pt x="566511" y="599317"/>
                </a:lnTo>
                <a:cubicBezTo>
                  <a:pt x="654259" y="599317"/>
                  <a:pt x="679171" y="638971"/>
                  <a:pt x="679171" y="681446"/>
                </a:cubicBezTo>
                <a:cubicBezTo>
                  <a:pt x="679194" y="723625"/>
                  <a:pt x="649368" y="764326"/>
                  <a:pt x="585826" y="764326"/>
                </a:cubicBez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3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5" y="1036877"/>
                  <a:pt x="219110" y="939073"/>
                </a:cubicBezTo>
                <a:cubicBezTo>
                  <a:pt x="203458" y="923420"/>
                  <a:pt x="179980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2F8C3E32-5E5A-4572-874F-82847D2F481D}"/>
              </a:ext>
            </a:extLst>
          </p:cNvPr>
          <p:cNvSpPr/>
          <p:nvPr/>
        </p:nvSpPr>
        <p:spPr>
          <a:xfrm>
            <a:off x="418571" y="1916832"/>
            <a:ext cx="636869" cy="636894"/>
          </a:xfrm>
          <a:custGeom>
            <a:avLst/>
            <a:gdLst>
              <a:gd name="connsiteX0" fmla="*/ 687452 w 1173789"/>
              <a:gd name="connsiteY0" fmla="*/ 836468 h 1173835"/>
              <a:gd name="connsiteX1" fmla="*/ 687452 w 1173789"/>
              <a:gd name="connsiteY1" fmla="*/ 337344 h 1173835"/>
              <a:gd name="connsiteX2" fmla="*/ 486338 w 1173789"/>
              <a:gd name="connsiteY2" fmla="*/ 422295 h 1173835"/>
              <a:gd name="connsiteX3" fmla="*/ 486338 w 1173789"/>
              <a:gd name="connsiteY3" fmla="*/ 501626 h 1173835"/>
              <a:gd name="connsiteX4" fmla="*/ 611284 w 1173789"/>
              <a:gd name="connsiteY4" fmla="*/ 447935 h 1173835"/>
              <a:gd name="connsiteX5" fmla="*/ 611284 w 1173789"/>
              <a:gd name="connsiteY5" fmla="*/ 836491 h 1173835"/>
              <a:gd name="connsiteX6" fmla="*/ 687452 w 1173789"/>
              <a:gd name="connsiteY6" fmla="*/ 836491 h 1173835"/>
              <a:gd name="connsiteX7" fmla="*/ 586895 w 1173789"/>
              <a:gd name="connsiteY7" fmla="*/ 0 h 1173835"/>
              <a:gd name="connsiteX8" fmla="*/ 0 w 1173789"/>
              <a:gd name="connsiteY8" fmla="*/ 586918 h 1173835"/>
              <a:gd name="connsiteX9" fmla="*/ 39131 w 1173789"/>
              <a:gd name="connsiteY9" fmla="*/ 802115 h 1173835"/>
              <a:gd name="connsiteX10" fmla="*/ 90001 w 1173789"/>
              <a:gd name="connsiteY10" fmla="*/ 825593 h 1173835"/>
              <a:gd name="connsiteX11" fmla="*/ 113480 w 1173789"/>
              <a:gd name="connsiteY11" fmla="*/ 774723 h 1173835"/>
              <a:gd name="connsiteX12" fmla="*/ 78262 w 1173789"/>
              <a:gd name="connsiteY12" fmla="*/ 586918 h 1173835"/>
              <a:gd name="connsiteX13" fmla="*/ 586895 w 1173789"/>
              <a:gd name="connsiteY13" fmla="*/ 78262 h 1173835"/>
              <a:gd name="connsiteX14" fmla="*/ 1095528 w 1173789"/>
              <a:gd name="connsiteY14" fmla="*/ 586918 h 1173835"/>
              <a:gd name="connsiteX15" fmla="*/ 586895 w 1173789"/>
              <a:gd name="connsiteY15" fmla="*/ 1095573 h 1173835"/>
              <a:gd name="connsiteX16" fmla="*/ 219110 w 1173789"/>
              <a:gd name="connsiteY16" fmla="*/ 939073 h 1173835"/>
              <a:gd name="connsiteX17" fmla="*/ 164327 w 1173789"/>
              <a:gd name="connsiteY17" fmla="*/ 939073 h 1173835"/>
              <a:gd name="connsiteX18" fmla="*/ 164327 w 1173789"/>
              <a:gd name="connsiteY18" fmla="*/ 993856 h 1173835"/>
              <a:gd name="connsiteX19" fmla="*/ 586895 w 1173789"/>
              <a:gd name="connsiteY19" fmla="*/ 1173835 h 1173835"/>
              <a:gd name="connsiteX20" fmla="*/ 1173790 w 1173789"/>
              <a:gd name="connsiteY20" fmla="*/ 586918 h 1173835"/>
              <a:gd name="connsiteX21" fmla="*/ 586895 w 1173789"/>
              <a:gd name="connsiteY21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73789" h="1173835">
                <a:moveTo>
                  <a:pt x="687452" y="836468"/>
                </a:moveTo>
                <a:lnTo>
                  <a:pt x="687452" y="337344"/>
                </a:lnTo>
                <a:lnTo>
                  <a:pt x="486338" y="422295"/>
                </a:lnTo>
                <a:lnTo>
                  <a:pt x="486338" y="501626"/>
                </a:lnTo>
                <a:lnTo>
                  <a:pt x="611284" y="447935"/>
                </a:lnTo>
                <a:lnTo>
                  <a:pt x="611284" y="836491"/>
                </a:lnTo>
                <a:lnTo>
                  <a:pt x="687452" y="836491"/>
                </a:lnTo>
                <a:close/>
                <a:moveTo>
                  <a:pt x="586895" y="0"/>
                </a:moveTo>
                <a:cubicBezTo>
                  <a:pt x="262131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4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1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2A08A9FE-B5CA-4002-A1AD-819FC502B13E}"/>
              </a:ext>
            </a:extLst>
          </p:cNvPr>
          <p:cNvSpPr/>
          <p:nvPr/>
        </p:nvSpPr>
        <p:spPr>
          <a:xfrm>
            <a:off x="2416783" y="1916832"/>
            <a:ext cx="636870" cy="636894"/>
          </a:xfrm>
          <a:custGeom>
            <a:avLst/>
            <a:gdLst>
              <a:gd name="connsiteX0" fmla="*/ 582868 w 1173790"/>
              <a:gd name="connsiteY0" fmla="*/ 770127 h 1173835"/>
              <a:gd name="connsiteX1" fmla="*/ 464224 w 1173790"/>
              <a:gd name="connsiteY1" fmla="*/ 719940 h 1173835"/>
              <a:gd name="connsiteX2" fmla="*/ 415425 w 1173790"/>
              <a:gd name="connsiteY2" fmla="*/ 770833 h 1173835"/>
              <a:gd name="connsiteX3" fmla="*/ 584597 w 1173790"/>
              <a:gd name="connsiteY3" fmla="*/ 841041 h 1173835"/>
              <a:gd name="connsiteX4" fmla="*/ 758343 w 1173790"/>
              <a:gd name="connsiteY4" fmla="*/ 698896 h 1173835"/>
              <a:gd name="connsiteX5" fmla="*/ 672346 w 1173790"/>
              <a:gd name="connsiteY5" fmla="*/ 584824 h 1173835"/>
              <a:gd name="connsiteX6" fmla="*/ 747104 w 1173790"/>
              <a:gd name="connsiteY6" fmla="*/ 473210 h 1173835"/>
              <a:gd name="connsiteX7" fmla="*/ 580025 w 1173790"/>
              <a:gd name="connsiteY7" fmla="*/ 332817 h 1173835"/>
              <a:gd name="connsiteX8" fmla="*/ 421021 w 1173790"/>
              <a:gd name="connsiteY8" fmla="*/ 410032 h 1173835"/>
              <a:gd name="connsiteX9" fmla="*/ 475782 w 1173790"/>
              <a:gd name="connsiteY9" fmla="*/ 456716 h 1173835"/>
              <a:gd name="connsiteX10" fmla="*/ 575110 w 1173790"/>
              <a:gd name="connsiteY10" fmla="*/ 403708 h 1173835"/>
              <a:gd name="connsiteX11" fmla="*/ 667773 w 1173790"/>
              <a:gd name="connsiteY11" fmla="*/ 477055 h 1173835"/>
              <a:gd name="connsiteX12" fmla="*/ 571948 w 1173790"/>
              <a:gd name="connsiteY12" fmla="*/ 550062 h 1173835"/>
              <a:gd name="connsiteX13" fmla="*/ 512979 w 1173790"/>
              <a:gd name="connsiteY13" fmla="*/ 550062 h 1173835"/>
              <a:gd name="connsiteX14" fmla="*/ 512979 w 1173790"/>
              <a:gd name="connsiteY14" fmla="*/ 619906 h 1173835"/>
              <a:gd name="connsiteX15" fmla="*/ 572289 w 1173790"/>
              <a:gd name="connsiteY15" fmla="*/ 619906 h 1173835"/>
              <a:gd name="connsiteX16" fmla="*/ 678648 w 1173790"/>
              <a:gd name="connsiteY16" fmla="*/ 695369 h 1173835"/>
              <a:gd name="connsiteX17" fmla="*/ 582868 w 1173790"/>
              <a:gd name="connsiteY17" fmla="*/ 770127 h 1173835"/>
              <a:gd name="connsiteX18" fmla="*/ 586895 w 1173790"/>
              <a:gd name="connsiteY18" fmla="*/ 0 h 1173835"/>
              <a:gd name="connsiteX19" fmla="*/ 0 w 1173790"/>
              <a:gd name="connsiteY19" fmla="*/ 586918 h 1173835"/>
              <a:gd name="connsiteX20" fmla="*/ 39131 w 1173790"/>
              <a:gd name="connsiteY20" fmla="*/ 802115 h 1173835"/>
              <a:gd name="connsiteX21" fmla="*/ 90001 w 1173790"/>
              <a:gd name="connsiteY21" fmla="*/ 825593 h 1173835"/>
              <a:gd name="connsiteX22" fmla="*/ 113480 w 1173790"/>
              <a:gd name="connsiteY22" fmla="*/ 774723 h 1173835"/>
              <a:gd name="connsiteX23" fmla="*/ 78262 w 1173790"/>
              <a:gd name="connsiteY23" fmla="*/ 586918 h 1173835"/>
              <a:gd name="connsiteX24" fmla="*/ 586895 w 1173790"/>
              <a:gd name="connsiteY24" fmla="*/ 78262 h 1173835"/>
              <a:gd name="connsiteX25" fmla="*/ 1095528 w 1173790"/>
              <a:gd name="connsiteY25" fmla="*/ 586918 h 1173835"/>
              <a:gd name="connsiteX26" fmla="*/ 586895 w 1173790"/>
              <a:gd name="connsiteY26" fmla="*/ 1095573 h 1173835"/>
              <a:gd name="connsiteX27" fmla="*/ 219110 w 1173790"/>
              <a:gd name="connsiteY27" fmla="*/ 939073 h 1173835"/>
              <a:gd name="connsiteX28" fmla="*/ 164327 w 1173790"/>
              <a:gd name="connsiteY28" fmla="*/ 939073 h 1173835"/>
              <a:gd name="connsiteX29" fmla="*/ 164327 w 1173790"/>
              <a:gd name="connsiteY29" fmla="*/ 993856 h 1173835"/>
              <a:gd name="connsiteX30" fmla="*/ 586895 w 1173790"/>
              <a:gd name="connsiteY30" fmla="*/ 1173835 h 1173835"/>
              <a:gd name="connsiteX31" fmla="*/ 1173790 w 1173790"/>
              <a:gd name="connsiteY31" fmla="*/ 586918 h 1173835"/>
              <a:gd name="connsiteX32" fmla="*/ 586895 w 1173790"/>
              <a:gd name="connsiteY32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173790" h="1173835">
                <a:moveTo>
                  <a:pt x="582868" y="770127"/>
                </a:moveTo>
                <a:cubicBezTo>
                  <a:pt x="538300" y="770127"/>
                  <a:pt x="493368" y="751517"/>
                  <a:pt x="464224" y="719940"/>
                </a:cubicBezTo>
                <a:lnTo>
                  <a:pt x="415425" y="770833"/>
                </a:lnTo>
                <a:cubicBezTo>
                  <a:pt x="451575" y="815060"/>
                  <a:pt x="511591" y="841041"/>
                  <a:pt x="584597" y="841041"/>
                </a:cubicBezTo>
                <a:cubicBezTo>
                  <a:pt x="673757" y="841041"/>
                  <a:pt x="758343" y="794698"/>
                  <a:pt x="758343" y="698896"/>
                </a:cubicBezTo>
                <a:cubicBezTo>
                  <a:pt x="758343" y="645182"/>
                  <a:pt x="723944" y="605186"/>
                  <a:pt x="672346" y="584824"/>
                </a:cubicBezTo>
                <a:cubicBezTo>
                  <a:pt x="717620" y="563758"/>
                  <a:pt x="747104" y="525514"/>
                  <a:pt x="747104" y="473210"/>
                </a:cubicBezTo>
                <a:cubicBezTo>
                  <a:pt x="747104" y="388624"/>
                  <a:pt x="680058" y="332817"/>
                  <a:pt x="580025" y="332817"/>
                </a:cubicBezTo>
                <a:cubicBezTo>
                  <a:pt x="502809" y="332817"/>
                  <a:pt x="449095" y="366169"/>
                  <a:pt x="421021" y="410032"/>
                </a:cubicBezTo>
                <a:lnTo>
                  <a:pt x="475782" y="456716"/>
                </a:lnTo>
                <a:cubicBezTo>
                  <a:pt x="494733" y="429348"/>
                  <a:pt x="529132" y="403708"/>
                  <a:pt x="575110" y="403708"/>
                </a:cubicBezTo>
                <a:cubicBezTo>
                  <a:pt x="626003" y="403708"/>
                  <a:pt x="667773" y="430030"/>
                  <a:pt x="667773" y="477055"/>
                </a:cubicBezTo>
                <a:cubicBezTo>
                  <a:pt x="667773" y="526196"/>
                  <a:pt x="624957" y="550062"/>
                  <a:pt x="571948" y="550062"/>
                </a:cubicBezTo>
                <a:lnTo>
                  <a:pt x="512979" y="550062"/>
                </a:lnTo>
                <a:lnTo>
                  <a:pt x="512979" y="619906"/>
                </a:lnTo>
                <a:lnTo>
                  <a:pt x="572289" y="619906"/>
                </a:lnTo>
                <a:cubicBezTo>
                  <a:pt x="630895" y="619906"/>
                  <a:pt x="678648" y="645887"/>
                  <a:pt x="678648" y="695369"/>
                </a:cubicBezTo>
                <a:cubicBezTo>
                  <a:pt x="678693" y="745898"/>
                  <a:pt x="636582" y="770127"/>
                  <a:pt x="582868" y="770127"/>
                </a:cubicBez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5" y="1036877"/>
                  <a:pt x="219110" y="939073"/>
                </a:cubicBezTo>
                <a:cubicBezTo>
                  <a:pt x="203458" y="923420"/>
                  <a:pt x="179980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9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59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8B87EBBB-0F9C-4F3F-81BC-204E3212A1A2}"/>
              </a:ext>
            </a:extLst>
          </p:cNvPr>
          <p:cNvSpPr/>
          <p:nvPr/>
        </p:nvSpPr>
        <p:spPr>
          <a:xfrm>
            <a:off x="1417683" y="1916832"/>
            <a:ext cx="636857" cy="636882"/>
          </a:xfrm>
          <a:custGeom>
            <a:avLst/>
            <a:gdLst>
              <a:gd name="connsiteX0" fmla="*/ 740097 w 1173767"/>
              <a:gd name="connsiteY0" fmla="*/ 494937 h 1173812"/>
              <a:gd name="connsiteX1" fmla="*/ 577226 w 1173767"/>
              <a:gd name="connsiteY1" fmla="*/ 336980 h 1173812"/>
              <a:gd name="connsiteX2" fmla="*/ 420338 w 1173767"/>
              <a:gd name="connsiteY2" fmla="*/ 419110 h 1173812"/>
              <a:gd name="connsiteX3" fmla="*/ 474735 w 1173767"/>
              <a:gd name="connsiteY3" fmla="*/ 464042 h 1173812"/>
              <a:gd name="connsiteX4" fmla="*/ 575110 w 1173767"/>
              <a:gd name="connsiteY4" fmla="*/ 409646 h 1173812"/>
              <a:gd name="connsiteX5" fmla="*/ 660402 w 1173767"/>
              <a:gd name="connsiteY5" fmla="*/ 494596 h 1173812"/>
              <a:gd name="connsiteX6" fmla="*/ 616539 w 1173767"/>
              <a:gd name="connsiteY6" fmla="*/ 588305 h 1173812"/>
              <a:gd name="connsiteX7" fmla="*/ 438926 w 1173767"/>
              <a:gd name="connsiteY7" fmla="*/ 777134 h 1173812"/>
              <a:gd name="connsiteX8" fmla="*/ 438926 w 1173767"/>
              <a:gd name="connsiteY8" fmla="*/ 836809 h 1173812"/>
              <a:gd name="connsiteX9" fmla="*/ 753429 w 1173767"/>
              <a:gd name="connsiteY9" fmla="*/ 836809 h 1173812"/>
              <a:gd name="connsiteX10" fmla="*/ 753429 w 1173767"/>
              <a:gd name="connsiteY10" fmla="*/ 764508 h 1173812"/>
              <a:gd name="connsiteX11" fmla="*/ 551609 w 1173767"/>
              <a:gd name="connsiteY11" fmla="*/ 764508 h 1173812"/>
              <a:gd name="connsiteX12" fmla="*/ 674803 w 1173767"/>
              <a:gd name="connsiteY12" fmla="*/ 632532 h 1173812"/>
              <a:gd name="connsiteX13" fmla="*/ 740097 w 1173767"/>
              <a:gd name="connsiteY13" fmla="*/ 494937 h 1173812"/>
              <a:gd name="connsiteX14" fmla="*/ 586872 w 1173767"/>
              <a:gd name="connsiteY14" fmla="*/ 0 h 1173812"/>
              <a:gd name="connsiteX15" fmla="*/ 0 w 1173767"/>
              <a:gd name="connsiteY15" fmla="*/ 586918 h 1173812"/>
              <a:gd name="connsiteX16" fmla="*/ 39131 w 1173767"/>
              <a:gd name="connsiteY16" fmla="*/ 802115 h 1173812"/>
              <a:gd name="connsiteX17" fmla="*/ 90001 w 1173767"/>
              <a:gd name="connsiteY17" fmla="*/ 825593 h 1173812"/>
              <a:gd name="connsiteX18" fmla="*/ 113479 w 1173767"/>
              <a:gd name="connsiteY18" fmla="*/ 774723 h 1173812"/>
              <a:gd name="connsiteX19" fmla="*/ 78262 w 1173767"/>
              <a:gd name="connsiteY19" fmla="*/ 586918 h 1173812"/>
              <a:gd name="connsiteX20" fmla="*/ 586895 w 1173767"/>
              <a:gd name="connsiteY20" fmla="*/ 78262 h 1173812"/>
              <a:gd name="connsiteX21" fmla="*/ 1095528 w 1173767"/>
              <a:gd name="connsiteY21" fmla="*/ 586918 h 1173812"/>
              <a:gd name="connsiteX22" fmla="*/ 586872 w 1173767"/>
              <a:gd name="connsiteY22" fmla="*/ 1095551 h 1173812"/>
              <a:gd name="connsiteX23" fmla="*/ 219087 w 1173767"/>
              <a:gd name="connsiteY23" fmla="*/ 939050 h 1173812"/>
              <a:gd name="connsiteX24" fmla="*/ 164304 w 1173767"/>
              <a:gd name="connsiteY24" fmla="*/ 939050 h 1173812"/>
              <a:gd name="connsiteX25" fmla="*/ 164304 w 1173767"/>
              <a:gd name="connsiteY25" fmla="*/ 993833 h 1173812"/>
              <a:gd name="connsiteX26" fmla="*/ 586872 w 1173767"/>
              <a:gd name="connsiteY26" fmla="*/ 1173812 h 1173812"/>
              <a:gd name="connsiteX27" fmla="*/ 1173767 w 1173767"/>
              <a:gd name="connsiteY27" fmla="*/ 586895 h 1173812"/>
              <a:gd name="connsiteX28" fmla="*/ 586872 w 1173767"/>
              <a:gd name="connsiteY28" fmla="*/ 0 h 1173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173767" h="1173812">
                <a:moveTo>
                  <a:pt x="740097" y="494937"/>
                </a:moveTo>
                <a:cubicBezTo>
                  <a:pt x="740097" y="402616"/>
                  <a:pt x="679012" y="336980"/>
                  <a:pt x="577226" y="336980"/>
                </a:cubicBezTo>
                <a:cubicBezTo>
                  <a:pt x="488431" y="336980"/>
                  <a:pt x="443840" y="387168"/>
                  <a:pt x="420338" y="419110"/>
                </a:cubicBezTo>
                <a:lnTo>
                  <a:pt x="474735" y="464042"/>
                </a:lnTo>
                <a:cubicBezTo>
                  <a:pt x="498964" y="434557"/>
                  <a:pt x="525287" y="409646"/>
                  <a:pt x="575110" y="409646"/>
                </a:cubicBezTo>
                <a:cubicBezTo>
                  <a:pt x="628119" y="409646"/>
                  <a:pt x="660402" y="445455"/>
                  <a:pt x="660402" y="494596"/>
                </a:cubicBezTo>
                <a:cubicBezTo>
                  <a:pt x="660402" y="529700"/>
                  <a:pt x="643908" y="558821"/>
                  <a:pt x="616539" y="588305"/>
                </a:cubicBezTo>
                <a:lnTo>
                  <a:pt x="438926" y="777134"/>
                </a:lnTo>
                <a:lnTo>
                  <a:pt x="438926" y="836809"/>
                </a:lnTo>
                <a:lnTo>
                  <a:pt x="753429" y="836809"/>
                </a:lnTo>
                <a:lnTo>
                  <a:pt x="753429" y="764508"/>
                </a:lnTo>
                <a:lnTo>
                  <a:pt x="551609" y="764508"/>
                </a:lnTo>
                <a:lnTo>
                  <a:pt x="674803" y="632532"/>
                </a:lnTo>
                <a:cubicBezTo>
                  <a:pt x="704993" y="599885"/>
                  <a:pt x="740097" y="556728"/>
                  <a:pt x="740097" y="494937"/>
                </a:cubicBezTo>
                <a:close/>
                <a:moveTo>
                  <a:pt x="586872" y="0"/>
                </a:moveTo>
                <a:cubicBezTo>
                  <a:pt x="262131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79" y="817767"/>
                  <a:pt x="121306" y="794288"/>
                  <a:pt x="113479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51"/>
                  <a:pt x="586872" y="1095551"/>
                </a:cubicBezTo>
                <a:cubicBezTo>
                  <a:pt x="449937" y="1095551"/>
                  <a:pt x="313001" y="1036854"/>
                  <a:pt x="219087" y="939050"/>
                </a:cubicBezTo>
                <a:cubicBezTo>
                  <a:pt x="203435" y="923397"/>
                  <a:pt x="179957" y="923397"/>
                  <a:pt x="164304" y="939050"/>
                </a:cubicBezTo>
                <a:cubicBezTo>
                  <a:pt x="148652" y="954702"/>
                  <a:pt x="148652" y="978181"/>
                  <a:pt x="164304" y="993833"/>
                </a:cubicBezTo>
                <a:cubicBezTo>
                  <a:pt x="273848" y="1107313"/>
                  <a:pt x="426436" y="1173812"/>
                  <a:pt x="586872" y="1173812"/>
                </a:cubicBezTo>
                <a:cubicBezTo>
                  <a:pt x="911613" y="1173812"/>
                  <a:pt x="1173767" y="911658"/>
                  <a:pt x="1173767" y="586895"/>
                </a:cubicBezTo>
                <a:cubicBezTo>
                  <a:pt x="1173767" y="262131"/>
                  <a:pt x="911613" y="0"/>
                  <a:pt x="586872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E1AF5C75-ACFB-4FE5-8EC7-20977302FCF4}"/>
              </a:ext>
            </a:extLst>
          </p:cNvPr>
          <p:cNvSpPr/>
          <p:nvPr/>
        </p:nvSpPr>
        <p:spPr>
          <a:xfrm>
            <a:off x="6413233" y="1916832"/>
            <a:ext cx="636870" cy="636894"/>
          </a:xfrm>
          <a:custGeom>
            <a:avLst/>
            <a:gdLst>
              <a:gd name="connsiteX0" fmla="*/ 543009 w 1173790"/>
              <a:gd name="connsiteY0" fmla="*/ 832600 h 1173835"/>
              <a:gd name="connsiteX1" fmla="*/ 755704 w 1173790"/>
              <a:gd name="connsiteY1" fmla="*/ 400864 h 1173835"/>
              <a:gd name="connsiteX2" fmla="*/ 755704 w 1173790"/>
              <a:gd name="connsiteY2" fmla="*/ 341189 h 1173835"/>
              <a:gd name="connsiteX3" fmla="*/ 418041 w 1173790"/>
              <a:gd name="connsiteY3" fmla="*/ 341189 h 1173835"/>
              <a:gd name="connsiteX4" fmla="*/ 418041 w 1173790"/>
              <a:gd name="connsiteY4" fmla="*/ 413149 h 1173835"/>
              <a:gd name="connsiteX5" fmla="*/ 664087 w 1173790"/>
              <a:gd name="connsiteY5" fmla="*/ 413149 h 1173835"/>
              <a:gd name="connsiteX6" fmla="*/ 454191 w 1173790"/>
              <a:gd name="connsiteY6" fmla="*/ 832600 h 1173835"/>
              <a:gd name="connsiteX7" fmla="*/ 543009 w 1173790"/>
              <a:gd name="connsiteY7" fmla="*/ 832600 h 1173835"/>
              <a:gd name="connsiteX8" fmla="*/ 586895 w 1173790"/>
              <a:gd name="connsiteY8" fmla="*/ 0 h 1173835"/>
              <a:gd name="connsiteX9" fmla="*/ 0 w 1173790"/>
              <a:gd name="connsiteY9" fmla="*/ 586918 h 1173835"/>
              <a:gd name="connsiteX10" fmla="*/ 39131 w 1173790"/>
              <a:gd name="connsiteY10" fmla="*/ 802115 h 1173835"/>
              <a:gd name="connsiteX11" fmla="*/ 90001 w 1173790"/>
              <a:gd name="connsiteY11" fmla="*/ 825593 h 1173835"/>
              <a:gd name="connsiteX12" fmla="*/ 113479 w 1173790"/>
              <a:gd name="connsiteY12" fmla="*/ 774723 h 1173835"/>
              <a:gd name="connsiteX13" fmla="*/ 78262 w 1173790"/>
              <a:gd name="connsiteY13" fmla="*/ 586918 h 1173835"/>
              <a:gd name="connsiteX14" fmla="*/ 586895 w 1173790"/>
              <a:gd name="connsiteY14" fmla="*/ 78262 h 1173835"/>
              <a:gd name="connsiteX15" fmla="*/ 1095528 w 1173790"/>
              <a:gd name="connsiteY15" fmla="*/ 586918 h 1173835"/>
              <a:gd name="connsiteX16" fmla="*/ 586895 w 1173790"/>
              <a:gd name="connsiteY16" fmla="*/ 1095573 h 1173835"/>
              <a:gd name="connsiteX17" fmla="*/ 219110 w 1173790"/>
              <a:gd name="connsiteY17" fmla="*/ 939073 h 1173835"/>
              <a:gd name="connsiteX18" fmla="*/ 164327 w 1173790"/>
              <a:gd name="connsiteY18" fmla="*/ 939073 h 1173835"/>
              <a:gd name="connsiteX19" fmla="*/ 164327 w 1173790"/>
              <a:gd name="connsiteY19" fmla="*/ 993856 h 1173835"/>
              <a:gd name="connsiteX20" fmla="*/ 586895 w 1173790"/>
              <a:gd name="connsiteY20" fmla="*/ 1173835 h 1173835"/>
              <a:gd name="connsiteX21" fmla="*/ 1173790 w 1173790"/>
              <a:gd name="connsiteY21" fmla="*/ 586918 h 1173835"/>
              <a:gd name="connsiteX22" fmla="*/ 586895 w 1173790"/>
              <a:gd name="connsiteY22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73790" h="1173835">
                <a:moveTo>
                  <a:pt x="543009" y="832600"/>
                </a:moveTo>
                <a:lnTo>
                  <a:pt x="755704" y="400864"/>
                </a:lnTo>
                <a:lnTo>
                  <a:pt x="755704" y="341189"/>
                </a:lnTo>
                <a:lnTo>
                  <a:pt x="418041" y="341189"/>
                </a:lnTo>
                <a:lnTo>
                  <a:pt x="418041" y="413149"/>
                </a:lnTo>
                <a:lnTo>
                  <a:pt x="664087" y="413149"/>
                </a:lnTo>
                <a:lnTo>
                  <a:pt x="454191" y="832600"/>
                </a:lnTo>
                <a:lnTo>
                  <a:pt x="543009" y="832600"/>
                </a:ln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79" y="817767"/>
                  <a:pt x="121306" y="794288"/>
                  <a:pt x="113479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5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4" y="954725"/>
                  <a:pt x="148674" y="978203"/>
                  <a:pt x="164327" y="993856"/>
                </a:cubicBezTo>
                <a:cubicBezTo>
                  <a:pt x="273870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5F12488D-0813-42B4-86EF-369CF7C67743}"/>
              </a:ext>
            </a:extLst>
          </p:cNvPr>
          <p:cNvSpPr/>
          <p:nvPr/>
        </p:nvSpPr>
        <p:spPr>
          <a:xfrm>
            <a:off x="8411459" y="1916832"/>
            <a:ext cx="636869" cy="636894"/>
          </a:xfrm>
          <a:custGeom>
            <a:avLst/>
            <a:gdLst>
              <a:gd name="connsiteX0" fmla="*/ 579524 w 1173789"/>
              <a:gd name="connsiteY0" fmla="*/ 836809 h 1173835"/>
              <a:gd name="connsiteX1" fmla="*/ 720964 w 1173789"/>
              <a:gd name="connsiteY1" fmla="*/ 624115 h 1173835"/>
              <a:gd name="connsiteX2" fmla="*/ 765190 w 1173789"/>
              <a:gd name="connsiteY2" fmla="*/ 500215 h 1173835"/>
              <a:gd name="connsiteX3" fmla="*/ 586894 w 1173789"/>
              <a:gd name="connsiteY3" fmla="*/ 337003 h 1173835"/>
              <a:gd name="connsiteX4" fmla="*/ 408576 w 1173789"/>
              <a:gd name="connsiteY4" fmla="*/ 500215 h 1173835"/>
              <a:gd name="connsiteX5" fmla="*/ 573541 w 1173789"/>
              <a:gd name="connsiteY5" fmla="*/ 663427 h 1173835"/>
              <a:gd name="connsiteX6" fmla="*/ 611442 w 1173789"/>
              <a:gd name="connsiteY6" fmla="*/ 658513 h 1173835"/>
              <a:gd name="connsiteX7" fmla="*/ 486497 w 1173789"/>
              <a:gd name="connsiteY7" fmla="*/ 836809 h 1173835"/>
              <a:gd name="connsiteX8" fmla="*/ 579524 w 1173789"/>
              <a:gd name="connsiteY8" fmla="*/ 836809 h 1173835"/>
              <a:gd name="connsiteX9" fmla="*/ 586894 w 1173789"/>
              <a:gd name="connsiteY9" fmla="*/ 592878 h 1173835"/>
              <a:gd name="connsiteX10" fmla="*/ 487202 w 1173789"/>
              <a:gd name="connsiteY10" fmla="*/ 500215 h 1173835"/>
              <a:gd name="connsiteX11" fmla="*/ 586894 w 1173789"/>
              <a:gd name="connsiteY11" fmla="*/ 407553 h 1173835"/>
              <a:gd name="connsiteX12" fmla="*/ 686588 w 1173789"/>
              <a:gd name="connsiteY12" fmla="*/ 500215 h 1173835"/>
              <a:gd name="connsiteX13" fmla="*/ 586894 w 1173789"/>
              <a:gd name="connsiteY13" fmla="*/ 592878 h 1173835"/>
              <a:gd name="connsiteX14" fmla="*/ 586894 w 1173789"/>
              <a:gd name="connsiteY14" fmla="*/ 0 h 1173835"/>
              <a:gd name="connsiteX15" fmla="*/ 0 w 1173789"/>
              <a:gd name="connsiteY15" fmla="*/ 586918 h 1173835"/>
              <a:gd name="connsiteX16" fmla="*/ 39130 w 1173789"/>
              <a:gd name="connsiteY16" fmla="*/ 802115 h 1173835"/>
              <a:gd name="connsiteX17" fmla="*/ 90001 w 1173789"/>
              <a:gd name="connsiteY17" fmla="*/ 825593 h 1173835"/>
              <a:gd name="connsiteX18" fmla="*/ 113479 w 1173789"/>
              <a:gd name="connsiteY18" fmla="*/ 774723 h 1173835"/>
              <a:gd name="connsiteX19" fmla="*/ 78262 w 1173789"/>
              <a:gd name="connsiteY19" fmla="*/ 586918 h 1173835"/>
              <a:gd name="connsiteX20" fmla="*/ 586894 w 1173789"/>
              <a:gd name="connsiteY20" fmla="*/ 78262 h 1173835"/>
              <a:gd name="connsiteX21" fmla="*/ 1095528 w 1173789"/>
              <a:gd name="connsiteY21" fmla="*/ 586918 h 1173835"/>
              <a:gd name="connsiteX22" fmla="*/ 586894 w 1173789"/>
              <a:gd name="connsiteY22" fmla="*/ 1095573 h 1173835"/>
              <a:gd name="connsiteX23" fmla="*/ 219110 w 1173789"/>
              <a:gd name="connsiteY23" fmla="*/ 939073 h 1173835"/>
              <a:gd name="connsiteX24" fmla="*/ 164327 w 1173789"/>
              <a:gd name="connsiteY24" fmla="*/ 939073 h 1173835"/>
              <a:gd name="connsiteX25" fmla="*/ 164327 w 1173789"/>
              <a:gd name="connsiteY25" fmla="*/ 993856 h 1173835"/>
              <a:gd name="connsiteX26" fmla="*/ 586894 w 1173789"/>
              <a:gd name="connsiteY26" fmla="*/ 1173835 h 1173835"/>
              <a:gd name="connsiteX27" fmla="*/ 1173790 w 1173789"/>
              <a:gd name="connsiteY27" fmla="*/ 586918 h 1173835"/>
              <a:gd name="connsiteX28" fmla="*/ 586894 w 1173789"/>
              <a:gd name="connsiteY28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173789" h="1173835">
                <a:moveTo>
                  <a:pt x="579524" y="836809"/>
                </a:moveTo>
                <a:lnTo>
                  <a:pt x="720964" y="624115"/>
                </a:lnTo>
                <a:cubicBezTo>
                  <a:pt x="749743" y="581298"/>
                  <a:pt x="765190" y="543396"/>
                  <a:pt x="765190" y="500215"/>
                </a:cubicBezTo>
                <a:cubicBezTo>
                  <a:pt x="765190" y="406847"/>
                  <a:pt x="688681" y="337003"/>
                  <a:pt x="586894" y="337003"/>
                </a:cubicBezTo>
                <a:cubicBezTo>
                  <a:pt x="484745" y="337003"/>
                  <a:pt x="408576" y="406847"/>
                  <a:pt x="408576" y="500215"/>
                </a:cubicBezTo>
                <a:cubicBezTo>
                  <a:pt x="408576" y="593583"/>
                  <a:pt x="483698" y="663427"/>
                  <a:pt x="573541" y="663427"/>
                </a:cubicBezTo>
                <a:cubicBezTo>
                  <a:pt x="590035" y="663427"/>
                  <a:pt x="601979" y="661312"/>
                  <a:pt x="611442" y="658513"/>
                </a:cubicBezTo>
                <a:lnTo>
                  <a:pt x="486497" y="836809"/>
                </a:lnTo>
                <a:lnTo>
                  <a:pt x="579524" y="836809"/>
                </a:lnTo>
                <a:close/>
                <a:moveTo>
                  <a:pt x="586894" y="592878"/>
                </a:moveTo>
                <a:cubicBezTo>
                  <a:pt x="530041" y="592878"/>
                  <a:pt x="487202" y="554976"/>
                  <a:pt x="487202" y="500215"/>
                </a:cubicBezTo>
                <a:cubicBezTo>
                  <a:pt x="487202" y="445455"/>
                  <a:pt x="530018" y="407553"/>
                  <a:pt x="586894" y="407553"/>
                </a:cubicBezTo>
                <a:cubicBezTo>
                  <a:pt x="643407" y="407553"/>
                  <a:pt x="686588" y="445114"/>
                  <a:pt x="686588" y="500215"/>
                </a:cubicBezTo>
                <a:cubicBezTo>
                  <a:pt x="686588" y="554976"/>
                  <a:pt x="643407" y="592878"/>
                  <a:pt x="586894" y="592878"/>
                </a:cubicBezTo>
                <a:close/>
                <a:moveTo>
                  <a:pt x="586894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0" y="802115"/>
                </a:cubicBezTo>
                <a:cubicBezTo>
                  <a:pt x="46956" y="825593"/>
                  <a:pt x="70436" y="833419"/>
                  <a:pt x="90001" y="825593"/>
                </a:cubicBezTo>
                <a:cubicBezTo>
                  <a:pt x="113479" y="817767"/>
                  <a:pt x="121305" y="794288"/>
                  <a:pt x="113479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4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4" y="1095573"/>
                </a:cubicBezTo>
                <a:cubicBezTo>
                  <a:pt x="449959" y="1095573"/>
                  <a:pt x="313024" y="1036877"/>
                  <a:pt x="219110" y="939073"/>
                </a:cubicBezTo>
                <a:cubicBezTo>
                  <a:pt x="203457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0" y="1107335"/>
                  <a:pt x="426458" y="1173835"/>
                  <a:pt x="586894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4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B2C4E62E-697F-4CFD-9366-10D581CE8429}"/>
              </a:ext>
            </a:extLst>
          </p:cNvPr>
          <p:cNvSpPr/>
          <p:nvPr/>
        </p:nvSpPr>
        <p:spPr>
          <a:xfrm>
            <a:off x="7412346" y="1916832"/>
            <a:ext cx="636869" cy="636894"/>
          </a:xfrm>
          <a:custGeom>
            <a:avLst/>
            <a:gdLst>
              <a:gd name="connsiteX0" fmla="*/ 399795 w 1173789"/>
              <a:gd name="connsiteY0" fmla="*/ 699237 h 1173835"/>
              <a:gd name="connsiteX1" fmla="*/ 586872 w 1173789"/>
              <a:gd name="connsiteY1" fmla="*/ 841041 h 1173835"/>
              <a:gd name="connsiteX2" fmla="*/ 773950 w 1173789"/>
              <a:gd name="connsiteY2" fmla="*/ 699237 h 1173835"/>
              <a:gd name="connsiteX3" fmla="*/ 686907 w 1173789"/>
              <a:gd name="connsiteY3" fmla="*/ 584802 h 1173835"/>
              <a:gd name="connsiteX4" fmla="*/ 762370 w 1173789"/>
              <a:gd name="connsiteY4" fmla="*/ 473188 h 1173835"/>
              <a:gd name="connsiteX5" fmla="*/ 586872 w 1173789"/>
              <a:gd name="connsiteY5" fmla="*/ 332794 h 1173835"/>
              <a:gd name="connsiteX6" fmla="*/ 411374 w 1173789"/>
              <a:gd name="connsiteY6" fmla="*/ 473188 h 1173835"/>
              <a:gd name="connsiteX7" fmla="*/ 486839 w 1173789"/>
              <a:gd name="connsiteY7" fmla="*/ 584802 h 1173835"/>
              <a:gd name="connsiteX8" fmla="*/ 399795 w 1173789"/>
              <a:gd name="connsiteY8" fmla="*/ 699237 h 1173835"/>
              <a:gd name="connsiteX9" fmla="*/ 586896 w 1173789"/>
              <a:gd name="connsiteY9" fmla="*/ 403685 h 1173835"/>
              <a:gd name="connsiteX10" fmla="*/ 682014 w 1173789"/>
              <a:gd name="connsiteY10" fmla="*/ 477033 h 1173835"/>
              <a:gd name="connsiteX11" fmla="*/ 586896 w 1173789"/>
              <a:gd name="connsiteY11" fmla="*/ 552155 h 1173835"/>
              <a:gd name="connsiteX12" fmla="*/ 492116 w 1173789"/>
              <a:gd name="connsiteY12" fmla="*/ 477033 h 1173835"/>
              <a:gd name="connsiteX13" fmla="*/ 586896 w 1173789"/>
              <a:gd name="connsiteY13" fmla="*/ 403685 h 1173835"/>
              <a:gd name="connsiteX14" fmla="*/ 586896 w 1173789"/>
              <a:gd name="connsiteY14" fmla="*/ 618859 h 1173835"/>
              <a:gd name="connsiteX15" fmla="*/ 692890 w 1173789"/>
              <a:gd name="connsiteY15" fmla="*/ 695028 h 1173835"/>
              <a:gd name="connsiteX16" fmla="*/ 586896 w 1173789"/>
              <a:gd name="connsiteY16" fmla="*/ 770491 h 1173835"/>
              <a:gd name="connsiteX17" fmla="*/ 480537 w 1173789"/>
              <a:gd name="connsiteY17" fmla="*/ 695028 h 1173835"/>
              <a:gd name="connsiteX18" fmla="*/ 586896 w 1173789"/>
              <a:gd name="connsiteY18" fmla="*/ 618859 h 1173835"/>
              <a:gd name="connsiteX19" fmla="*/ 586896 w 1173789"/>
              <a:gd name="connsiteY19" fmla="*/ 0 h 1173835"/>
              <a:gd name="connsiteX20" fmla="*/ 0 w 1173789"/>
              <a:gd name="connsiteY20" fmla="*/ 586918 h 1173835"/>
              <a:gd name="connsiteX21" fmla="*/ 39131 w 1173789"/>
              <a:gd name="connsiteY21" fmla="*/ 802115 h 1173835"/>
              <a:gd name="connsiteX22" fmla="*/ 90001 w 1173789"/>
              <a:gd name="connsiteY22" fmla="*/ 825593 h 1173835"/>
              <a:gd name="connsiteX23" fmla="*/ 113479 w 1173789"/>
              <a:gd name="connsiteY23" fmla="*/ 774723 h 1173835"/>
              <a:gd name="connsiteX24" fmla="*/ 78262 w 1173789"/>
              <a:gd name="connsiteY24" fmla="*/ 586918 h 1173835"/>
              <a:gd name="connsiteX25" fmla="*/ 586896 w 1173789"/>
              <a:gd name="connsiteY25" fmla="*/ 78262 h 1173835"/>
              <a:gd name="connsiteX26" fmla="*/ 1095528 w 1173789"/>
              <a:gd name="connsiteY26" fmla="*/ 586918 h 1173835"/>
              <a:gd name="connsiteX27" fmla="*/ 586896 w 1173789"/>
              <a:gd name="connsiteY27" fmla="*/ 1095573 h 1173835"/>
              <a:gd name="connsiteX28" fmla="*/ 219110 w 1173789"/>
              <a:gd name="connsiteY28" fmla="*/ 939073 h 1173835"/>
              <a:gd name="connsiteX29" fmla="*/ 164327 w 1173789"/>
              <a:gd name="connsiteY29" fmla="*/ 939073 h 1173835"/>
              <a:gd name="connsiteX30" fmla="*/ 164327 w 1173789"/>
              <a:gd name="connsiteY30" fmla="*/ 993856 h 1173835"/>
              <a:gd name="connsiteX31" fmla="*/ 586896 w 1173789"/>
              <a:gd name="connsiteY31" fmla="*/ 1173835 h 1173835"/>
              <a:gd name="connsiteX32" fmla="*/ 1173790 w 1173789"/>
              <a:gd name="connsiteY32" fmla="*/ 586918 h 1173835"/>
              <a:gd name="connsiteX33" fmla="*/ 586896 w 1173789"/>
              <a:gd name="connsiteY33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173789" h="1173835">
                <a:moveTo>
                  <a:pt x="399795" y="699237"/>
                </a:moveTo>
                <a:cubicBezTo>
                  <a:pt x="399795" y="788396"/>
                  <a:pt x="483676" y="841041"/>
                  <a:pt x="586872" y="841041"/>
                </a:cubicBezTo>
                <a:cubicBezTo>
                  <a:pt x="690068" y="841041"/>
                  <a:pt x="773950" y="788396"/>
                  <a:pt x="773950" y="699237"/>
                </a:cubicBezTo>
                <a:cubicBezTo>
                  <a:pt x="773950" y="639221"/>
                  <a:pt x="735000" y="603776"/>
                  <a:pt x="686907" y="584802"/>
                </a:cubicBezTo>
                <a:cubicBezTo>
                  <a:pt x="729382" y="565145"/>
                  <a:pt x="762370" y="530041"/>
                  <a:pt x="762370" y="473188"/>
                </a:cubicBezTo>
                <a:cubicBezTo>
                  <a:pt x="762370" y="385098"/>
                  <a:pt x="683744" y="332794"/>
                  <a:pt x="586872" y="332794"/>
                </a:cubicBezTo>
                <a:cubicBezTo>
                  <a:pt x="490000" y="332794"/>
                  <a:pt x="411374" y="385098"/>
                  <a:pt x="411374" y="473188"/>
                </a:cubicBezTo>
                <a:cubicBezTo>
                  <a:pt x="411374" y="530041"/>
                  <a:pt x="444363" y="565145"/>
                  <a:pt x="486839" y="584802"/>
                </a:cubicBezTo>
                <a:cubicBezTo>
                  <a:pt x="438403" y="603753"/>
                  <a:pt x="399795" y="639198"/>
                  <a:pt x="399795" y="699237"/>
                </a:cubicBezTo>
                <a:close/>
                <a:moveTo>
                  <a:pt x="586896" y="403685"/>
                </a:moveTo>
                <a:cubicBezTo>
                  <a:pt x="639198" y="403685"/>
                  <a:pt x="682014" y="429302"/>
                  <a:pt x="682014" y="477033"/>
                </a:cubicBezTo>
                <a:cubicBezTo>
                  <a:pt x="682014" y="526515"/>
                  <a:pt x="639198" y="552155"/>
                  <a:pt x="586896" y="552155"/>
                </a:cubicBezTo>
                <a:cubicBezTo>
                  <a:pt x="534592" y="552155"/>
                  <a:pt x="492116" y="526538"/>
                  <a:pt x="492116" y="477033"/>
                </a:cubicBezTo>
                <a:cubicBezTo>
                  <a:pt x="492116" y="429302"/>
                  <a:pt x="534592" y="403685"/>
                  <a:pt x="586896" y="403685"/>
                </a:cubicBezTo>
                <a:close/>
                <a:moveTo>
                  <a:pt x="586896" y="618859"/>
                </a:moveTo>
                <a:cubicBezTo>
                  <a:pt x="644818" y="618859"/>
                  <a:pt x="692890" y="645182"/>
                  <a:pt x="692890" y="695028"/>
                </a:cubicBezTo>
                <a:cubicBezTo>
                  <a:pt x="692890" y="744510"/>
                  <a:pt x="644795" y="770491"/>
                  <a:pt x="586896" y="770491"/>
                </a:cubicBezTo>
                <a:cubicBezTo>
                  <a:pt x="528631" y="770491"/>
                  <a:pt x="480537" y="744510"/>
                  <a:pt x="480537" y="695028"/>
                </a:cubicBezTo>
                <a:cubicBezTo>
                  <a:pt x="480537" y="645182"/>
                  <a:pt x="528608" y="618859"/>
                  <a:pt x="586896" y="618859"/>
                </a:cubicBezTo>
                <a:close/>
                <a:moveTo>
                  <a:pt x="586896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79" y="817767"/>
                  <a:pt x="121305" y="794288"/>
                  <a:pt x="113479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6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6" y="1095573"/>
                </a:cubicBezTo>
                <a:cubicBezTo>
                  <a:pt x="449959" y="1095573"/>
                  <a:pt x="313024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0" y="1107335"/>
                  <a:pt x="426459" y="1173835"/>
                  <a:pt x="586896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6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55E0D6D-6700-4864-818F-342A8E39F9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3B2F17E-E6C4-4404-858C-338197E86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33</a:t>
            </a:fld>
            <a:endParaRPr lang="de-DE" dirty="0"/>
          </a:p>
        </p:txBody>
      </p:sp>
      <p:pic>
        <p:nvPicPr>
          <p:cNvPr id="6" name="Grafik 5">
            <a:hlinkClick r:id="rId2"/>
            <a:extLst>
              <a:ext uri="{FF2B5EF4-FFF2-40B4-BE49-F238E27FC236}">
                <a16:creationId xmlns:a16="http://schemas.microsoft.com/office/drawing/2014/main" id="{AA55A81F-FD43-0893-E04C-5B3F6C6B04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01560" y="186097"/>
            <a:ext cx="1478440" cy="151797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957CC5A8-C2A1-13DD-B8C0-9CC857FB4C1A}"/>
              </a:ext>
            </a:extLst>
          </p:cNvPr>
          <p:cNvSpPr txBox="1"/>
          <p:nvPr/>
        </p:nvSpPr>
        <p:spPr>
          <a:xfrm>
            <a:off x="8001558" y="437251"/>
            <a:ext cx="147844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200" b="1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UR </a:t>
            </a: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mpuls-orange,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Tiefenblau,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chwarz oder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Weiß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2E80A86-AF50-7659-C78F-E245AC4B5D2F}"/>
              </a:ext>
            </a:extLst>
          </p:cNvPr>
          <p:cNvSpPr txBox="1"/>
          <p:nvPr/>
        </p:nvSpPr>
        <p:spPr>
          <a:xfrm>
            <a:off x="9477414" y="865367"/>
            <a:ext cx="230401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aktuell weiter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auf Weitere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"/>
              </a:rPr>
              <a:t>Netze BW | Design Guide –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"/>
              </a:rPr>
              <a:t>Figma</a:t>
            </a:r>
            <a:endParaRPr lang="de-DE" sz="1000" u="sng" dirty="0">
              <a:solidFill>
                <a:srgbClr val="0563C1"/>
              </a:solidFill>
              <a:effectLst/>
              <a:ea typeface="Times New Roman" panose="02020603050405020304" pitchFamily="18" charset="0"/>
            </a:endParaRPr>
          </a:p>
          <a:p>
            <a:r>
              <a:rPr lang="de-DE" sz="1000" dirty="0"/>
              <a:t>Zugriffsanfrage bitte an </a:t>
            </a:r>
          </a:p>
          <a:p>
            <a:r>
              <a:rPr lang="de-DE" sz="10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d-check@netze-bw.de</a:t>
            </a:r>
            <a:r>
              <a:rPr lang="de-DE" sz="1000" dirty="0"/>
              <a:t> senden.</a:t>
            </a:r>
          </a:p>
        </p:txBody>
      </p:sp>
    </p:spTree>
    <p:extLst>
      <p:ext uri="{BB962C8B-B14F-4D97-AF65-F5344CB8AC3E}">
        <p14:creationId xmlns:p14="http://schemas.microsoft.com/office/powerpoint/2010/main" val="244235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115049EC-DD16-48DE-A91E-CEF6FA044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07101486-AA52-4DD8-A62E-0FA06099F5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Beispielfolien</a:t>
            </a:r>
          </a:p>
          <a:p>
            <a:r>
              <a:rPr lang="de-DE" dirty="0"/>
              <a:t>Diagramme</a:t>
            </a:r>
          </a:p>
          <a:p>
            <a:r>
              <a:rPr lang="de-DE" dirty="0"/>
              <a:t>Tabellen</a:t>
            </a:r>
          </a:p>
          <a:p>
            <a:r>
              <a:rPr lang="de-DE" dirty="0"/>
              <a:t>Prozesse und Projektpläne</a:t>
            </a:r>
          </a:p>
          <a:p>
            <a:r>
              <a:rPr lang="de-DE" dirty="0"/>
              <a:t>Organigramme</a:t>
            </a:r>
          </a:p>
          <a:p>
            <a:r>
              <a:rPr lang="de-DE" dirty="0"/>
              <a:t>Formen und </a:t>
            </a:r>
            <a:r>
              <a:rPr lang="de-DE" dirty="0" err="1"/>
              <a:t>Textboxen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9501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foli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9340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B42EF47D-C9B6-4304-9F54-22A7E9C2C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 lorem</a:t>
            </a:r>
            <a:br>
              <a:rPr lang="en-US" dirty="0"/>
            </a:br>
            <a:r>
              <a:rPr lang="en-US" dirty="0"/>
              <a:t>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6</a:t>
            </a:fld>
            <a:endParaRPr lang="de-DE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8E1579EF-56CB-4284-973C-25331A80158F}"/>
              </a:ext>
            </a:extLst>
          </p:cNvPr>
          <p:cNvCxnSpPr>
            <a:cxnSpLocks/>
          </p:cNvCxnSpPr>
          <p:nvPr/>
        </p:nvCxnSpPr>
        <p:spPr>
          <a:xfrm>
            <a:off x="5000551" y="3394748"/>
            <a:ext cx="2196244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bject 16">
            <a:extLst>
              <a:ext uri="{FF2B5EF4-FFF2-40B4-BE49-F238E27FC236}">
                <a16:creationId xmlns:a16="http://schemas.microsoft.com/office/drawing/2014/main" id="{3C127CCC-07ED-4378-8D3C-A62ECA287ECC}"/>
              </a:ext>
            </a:extLst>
          </p:cNvPr>
          <p:cNvSpPr>
            <a:spLocks noChangeAspect="1"/>
          </p:cNvSpPr>
          <p:nvPr/>
        </p:nvSpPr>
        <p:spPr>
          <a:xfrm>
            <a:off x="4160883" y="2963266"/>
            <a:ext cx="862965" cy="862965"/>
          </a:xfrm>
          <a:custGeom>
            <a:avLst/>
            <a:gdLst/>
            <a:ahLst/>
            <a:cxnLst/>
            <a:rect l="l" t="t" r="r" b="b"/>
            <a:pathLst>
              <a:path w="862965" h="862964">
                <a:moveTo>
                  <a:pt x="431292" y="0"/>
                </a:moveTo>
                <a:lnTo>
                  <a:pt x="384297" y="2530"/>
                </a:lnTo>
                <a:lnTo>
                  <a:pt x="338768" y="9947"/>
                </a:lnTo>
                <a:lnTo>
                  <a:pt x="294968" y="21987"/>
                </a:lnTo>
                <a:lnTo>
                  <a:pt x="253160" y="38386"/>
                </a:lnTo>
                <a:lnTo>
                  <a:pt x="213608" y="58882"/>
                </a:lnTo>
                <a:lnTo>
                  <a:pt x="176574" y="83212"/>
                </a:lnTo>
                <a:lnTo>
                  <a:pt x="142321" y="111113"/>
                </a:lnTo>
                <a:lnTo>
                  <a:pt x="111113" y="142321"/>
                </a:lnTo>
                <a:lnTo>
                  <a:pt x="83212" y="176574"/>
                </a:lnTo>
                <a:lnTo>
                  <a:pt x="58882" y="213608"/>
                </a:lnTo>
                <a:lnTo>
                  <a:pt x="38386" y="253160"/>
                </a:lnTo>
                <a:lnTo>
                  <a:pt x="21987" y="294968"/>
                </a:lnTo>
                <a:lnTo>
                  <a:pt x="9947" y="338768"/>
                </a:lnTo>
                <a:lnTo>
                  <a:pt x="2530" y="384297"/>
                </a:lnTo>
                <a:lnTo>
                  <a:pt x="0" y="431291"/>
                </a:lnTo>
                <a:lnTo>
                  <a:pt x="2530" y="478286"/>
                </a:lnTo>
                <a:lnTo>
                  <a:pt x="9947" y="523815"/>
                </a:lnTo>
                <a:lnTo>
                  <a:pt x="21987" y="567615"/>
                </a:lnTo>
                <a:lnTo>
                  <a:pt x="38386" y="609423"/>
                </a:lnTo>
                <a:lnTo>
                  <a:pt x="58882" y="648975"/>
                </a:lnTo>
                <a:lnTo>
                  <a:pt x="83212" y="686009"/>
                </a:lnTo>
                <a:lnTo>
                  <a:pt x="111113" y="720262"/>
                </a:lnTo>
                <a:lnTo>
                  <a:pt x="142321" y="751470"/>
                </a:lnTo>
                <a:lnTo>
                  <a:pt x="176574" y="779371"/>
                </a:lnTo>
                <a:lnTo>
                  <a:pt x="213608" y="803701"/>
                </a:lnTo>
                <a:lnTo>
                  <a:pt x="253160" y="824197"/>
                </a:lnTo>
                <a:lnTo>
                  <a:pt x="294968" y="840596"/>
                </a:lnTo>
                <a:lnTo>
                  <a:pt x="338768" y="852636"/>
                </a:lnTo>
                <a:lnTo>
                  <a:pt x="384297" y="860053"/>
                </a:lnTo>
                <a:lnTo>
                  <a:pt x="431292" y="862583"/>
                </a:lnTo>
                <a:lnTo>
                  <a:pt x="478286" y="860053"/>
                </a:lnTo>
                <a:lnTo>
                  <a:pt x="523815" y="852636"/>
                </a:lnTo>
                <a:lnTo>
                  <a:pt x="567615" y="840596"/>
                </a:lnTo>
                <a:lnTo>
                  <a:pt x="609423" y="824197"/>
                </a:lnTo>
                <a:lnTo>
                  <a:pt x="648975" y="803701"/>
                </a:lnTo>
                <a:lnTo>
                  <a:pt x="686009" y="779371"/>
                </a:lnTo>
                <a:lnTo>
                  <a:pt x="720262" y="751470"/>
                </a:lnTo>
                <a:lnTo>
                  <a:pt x="751470" y="720262"/>
                </a:lnTo>
                <a:lnTo>
                  <a:pt x="779371" y="686009"/>
                </a:lnTo>
                <a:lnTo>
                  <a:pt x="803701" y="648975"/>
                </a:lnTo>
                <a:lnTo>
                  <a:pt x="824197" y="609423"/>
                </a:lnTo>
                <a:lnTo>
                  <a:pt x="840596" y="567615"/>
                </a:lnTo>
                <a:lnTo>
                  <a:pt x="852636" y="523815"/>
                </a:lnTo>
                <a:lnTo>
                  <a:pt x="860053" y="478286"/>
                </a:lnTo>
                <a:lnTo>
                  <a:pt x="862584" y="431291"/>
                </a:lnTo>
                <a:lnTo>
                  <a:pt x="860053" y="384297"/>
                </a:lnTo>
                <a:lnTo>
                  <a:pt x="852636" y="338768"/>
                </a:lnTo>
                <a:lnTo>
                  <a:pt x="840596" y="294968"/>
                </a:lnTo>
                <a:lnTo>
                  <a:pt x="824197" y="253160"/>
                </a:lnTo>
                <a:lnTo>
                  <a:pt x="803701" y="213608"/>
                </a:lnTo>
                <a:lnTo>
                  <a:pt x="779371" y="176574"/>
                </a:lnTo>
                <a:lnTo>
                  <a:pt x="751470" y="142321"/>
                </a:lnTo>
                <a:lnTo>
                  <a:pt x="720262" y="111113"/>
                </a:lnTo>
                <a:lnTo>
                  <a:pt x="686009" y="83212"/>
                </a:lnTo>
                <a:lnTo>
                  <a:pt x="648975" y="58882"/>
                </a:lnTo>
                <a:lnTo>
                  <a:pt x="609423" y="38386"/>
                </a:lnTo>
                <a:lnTo>
                  <a:pt x="567615" y="21987"/>
                </a:lnTo>
                <a:lnTo>
                  <a:pt x="523815" y="9947"/>
                </a:lnTo>
                <a:lnTo>
                  <a:pt x="478286" y="2530"/>
                </a:lnTo>
                <a:lnTo>
                  <a:pt x="431292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3200" b="1" dirty="0">
                <a:solidFill>
                  <a:schemeClr val="bg1"/>
                </a:solidFill>
                <a:cs typeface="EnBW DIN Pro"/>
              </a:rPr>
              <a:t>0,8</a:t>
            </a:r>
            <a:endParaRPr lang="de-DE" sz="3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rd.</a:t>
            </a:r>
            <a:r>
              <a:rPr lang="de-DE" sz="1200" spc="-70" dirty="0">
                <a:solidFill>
                  <a:schemeClr val="bg1"/>
                </a:solidFill>
                <a:cs typeface="EnBW DIN Pro"/>
              </a:rPr>
              <a:t> 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€</a:t>
            </a:r>
          </a:p>
        </p:txBody>
      </p:sp>
      <p:sp>
        <p:nvSpPr>
          <p:cNvPr id="36" name="object 7">
            <a:extLst>
              <a:ext uri="{FF2B5EF4-FFF2-40B4-BE49-F238E27FC236}">
                <a16:creationId xmlns:a16="http://schemas.microsoft.com/office/drawing/2014/main" id="{DC9F712B-313B-4E16-8FDA-C3BD7D57BC66}"/>
              </a:ext>
            </a:extLst>
          </p:cNvPr>
          <p:cNvSpPr txBox="1"/>
          <p:nvPr/>
        </p:nvSpPr>
        <p:spPr>
          <a:xfrm>
            <a:off x="2483876" y="4979067"/>
            <a:ext cx="1362873" cy="567463"/>
          </a:xfrm>
          <a:prstGeom prst="rect">
            <a:avLst/>
          </a:prstGeom>
          <a:noFill/>
        </p:spPr>
        <p:txBody>
          <a:bodyPr vert="horz" wrap="none" lIns="0" tIns="1333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5"/>
              </a:spcBef>
            </a:pPr>
            <a:r>
              <a:rPr spc="-5" dirty="0" err="1">
                <a:cs typeface="EnBW DIN Pro Medium"/>
              </a:rPr>
              <a:t>Erzeugung</a:t>
            </a:r>
            <a:r>
              <a:rPr spc="-20" dirty="0">
                <a:cs typeface="EnBW DIN Pro Medium"/>
              </a:rPr>
              <a:t> </a:t>
            </a:r>
            <a:r>
              <a:rPr spc="5" dirty="0">
                <a:cs typeface="EnBW DIN Pro Medium"/>
              </a:rPr>
              <a:t>&amp;</a:t>
            </a:r>
            <a:br>
              <a:rPr lang="de-DE" spc="-50" dirty="0">
                <a:cs typeface="EnBW DIN Pro Medium"/>
              </a:rPr>
            </a:br>
            <a:r>
              <a:rPr dirty="0">
                <a:cs typeface="EnBW DIN Pro Medium"/>
              </a:rPr>
              <a:t>Handel</a:t>
            </a:r>
          </a:p>
        </p:txBody>
      </p:sp>
      <p:sp>
        <p:nvSpPr>
          <p:cNvPr id="37" name="object 8">
            <a:extLst>
              <a:ext uri="{FF2B5EF4-FFF2-40B4-BE49-F238E27FC236}">
                <a16:creationId xmlns:a16="http://schemas.microsoft.com/office/drawing/2014/main" id="{62AE1724-7D36-4AA0-B927-53257A737C95}"/>
              </a:ext>
            </a:extLst>
          </p:cNvPr>
          <p:cNvSpPr txBox="1"/>
          <p:nvPr/>
        </p:nvSpPr>
        <p:spPr>
          <a:xfrm>
            <a:off x="2551157" y="4032725"/>
            <a:ext cx="1295035" cy="567463"/>
          </a:xfrm>
          <a:prstGeom prst="rect">
            <a:avLst/>
          </a:prstGeom>
          <a:noFill/>
        </p:spPr>
        <p:txBody>
          <a:bodyPr vert="horz" wrap="none" lIns="0" tIns="1333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5"/>
              </a:spcBef>
            </a:pPr>
            <a:r>
              <a:rPr spc="-10" dirty="0" err="1">
                <a:cs typeface="EnBW DIN Pro Medium"/>
              </a:rPr>
              <a:t>Erneuerbare</a:t>
            </a:r>
            <a:br>
              <a:rPr lang="de-DE" spc="-10" dirty="0">
                <a:cs typeface="EnBW DIN Pro Medium"/>
              </a:rPr>
            </a:br>
            <a:r>
              <a:rPr spc="-10" dirty="0" err="1">
                <a:cs typeface="EnBW DIN Pro Medium"/>
              </a:rPr>
              <a:t>Energien</a:t>
            </a:r>
            <a:endParaRPr dirty="0">
              <a:cs typeface="EnBW DIN Pro Medium"/>
            </a:endParaRPr>
          </a:p>
        </p:txBody>
      </p:sp>
      <p:sp>
        <p:nvSpPr>
          <p:cNvPr id="38" name="object 9">
            <a:extLst>
              <a:ext uri="{FF2B5EF4-FFF2-40B4-BE49-F238E27FC236}">
                <a16:creationId xmlns:a16="http://schemas.microsoft.com/office/drawing/2014/main" id="{B0F84E04-9CE4-4C06-A468-E009D387527F}"/>
              </a:ext>
            </a:extLst>
          </p:cNvPr>
          <p:cNvSpPr txBox="1"/>
          <p:nvPr/>
        </p:nvSpPr>
        <p:spPr>
          <a:xfrm>
            <a:off x="3228150" y="3249516"/>
            <a:ext cx="618119" cy="290464"/>
          </a:xfrm>
          <a:prstGeom prst="rect">
            <a:avLst/>
          </a:prstGeom>
          <a:noFill/>
        </p:spPr>
        <p:txBody>
          <a:bodyPr vert="horz" wrap="none" lIns="0" tIns="1333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5"/>
              </a:spcBef>
            </a:pPr>
            <a:r>
              <a:rPr spc="-5" dirty="0">
                <a:cs typeface="EnBW DIN Pro Medium"/>
              </a:rPr>
              <a:t>Ne</a:t>
            </a:r>
            <a:r>
              <a:rPr dirty="0">
                <a:cs typeface="EnBW DIN Pro Medium"/>
              </a:rPr>
              <a:t>t</a:t>
            </a:r>
            <a:r>
              <a:rPr spc="-10" dirty="0">
                <a:cs typeface="EnBW DIN Pro Medium"/>
              </a:rPr>
              <a:t>ze</a:t>
            </a:r>
            <a:endParaRPr dirty="0">
              <a:cs typeface="EnBW DIN Pro Medium"/>
            </a:endParaRPr>
          </a:p>
        </p:txBody>
      </p:sp>
      <p:sp>
        <p:nvSpPr>
          <p:cNvPr id="39" name="object 10">
            <a:extLst>
              <a:ext uri="{FF2B5EF4-FFF2-40B4-BE49-F238E27FC236}">
                <a16:creationId xmlns:a16="http://schemas.microsoft.com/office/drawing/2014/main" id="{16DF53C5-59CB-4127-8405-CD1CB2B56480}"/>
              </a:ext>
            </a:extLst>
          </p:cNvPr>
          <p:cNvSpPr txBox="1"/>
          <p:nvPr/>
        </p:nvSpPr>
        <p:spPr>
          <a:xfrm>
            <a:off x="2908149" y="2392632"/>
            <a:ext cx="939423" cy="290464"/>
          </a:xfrm>
          <a:prstGeom prst="rect">
            <a:avLst/>
          </a:prstGeom>
          <a:noFill/>
        </p:spPr>
        <p:txBody>
          <a:bodyPr vert="horz" wrap="none" lIns="0" tIns="1333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5"/>
              </a:spcBef>
            </a:pPr>
            <a:r>
              <a:rPr spc="-10" dirty="0">
                <a:cs typeface="EnBW DIN Pro Medium"/>
              </a:rPr>
              <a:t>Vertriebe</a:t>
            </a:r>
            <a:endParaRPr dirty="0">
              <a:cs typeface="EnBW DIN Pro Medium"/>
            </a:endParaRPr>
          </a:p>
        </p:txBody>
      </p:sp>
      <p:sp>
        <p:nvSpPr>
          <p:cNvPr id="40" name="object 25">
            <a:extLst>
              <a:ext uri="{FF2B5EF4-FFF2-40B4-BE49-F238E27FC236}">
                <a16:creationId xmlns:a16="http://schemas.microsoft.com/office/drawing/2014/main" id="{AE516E1E-52F9-42ED-A2C1-DFE96F21B2E3}"/>
              </a:ext>
            </a:extLst>
          </p:cNvPr>
          <p:cNvSpPr txBox="1"/>
          <p:nvPr/>
        </p:nvSpPr>
        <p:spPr>
          <a:xfrm>
            <a:off x="3750629" y="5913276"/>
            <a:ext cx="1683472" cy="360040"/>
          </a:xfrm>
          <a:prstGeom prst="rect">
            <a:avLst/>
          </a:prstGeom>
          <a:noFill/>
        </p:spPr>
        <p:txBody>
          <a:bodyPr vert="horz" wrap="square" lIns="0" tIns="1143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</a:pPr>
            <a:r>
              <a:rPr sz="2400" b="1" spc="-10" dirty="0">
                <a:latin typeface="+mj-lt"/>
                <a:cs typeface="EnBW DIN Pro"/>
              </a:rPr>
              <a:t>2,4</a:t>
            </a:r>
            <a:r>
              <a:rPr sz="2400" b="1" spc="-25" dirty="0">
                <a:latin typeface="+mj-lt"/>
                <a:cs typeface="EnBW DIN Pro"/>
              </a:rPr>
              <a:t> Mrd.</a:t>
            </a:r>
            <a:r>
              <a:rPr sz="2400" b="1" spc="10" dirty="0">
                <a:latin typeface="+mj-lt"/>
                <a:cs typeface="EnBW DIN Pro"/>
              </a:rPr>
              <a:t> </a:t>
            </a:r>
            <a:r>
              <a:rPr sz="2400" b="1" spc="-10" dirty="0">
                <a:latin typeface="+mj-lt"/>
                <a:cs typeface="EnBW DIN Pro"/>
              </a:rPr>
              <a:t>€</a:t>
            </a:r>
            <a:endParaRPr sz="2400" dirty="0">
              <a:latin typeface="+mj-lt"/>
              <a:cs typeface="EnBW DIN Pro"/>
            </a:endParaRPr>
          </a:p>
        </p:txBody>
      </p:sp>
      <p:sp>
        <p:nvSpPr>
          <p:cNvPr id="41" name="object 36">
            <a:extLst>
              <a:ext uri="{FF2B5EF4-FFF2-40B4-BE49-F238E27FC236}">
                <a16:creationId xmlns:a16="http://schemas.microsoft.com/office/drawing/2014/main" id="{A718A020-552C-4F58-80A2-A63C521D4768}"/>
              </a:ext>
            </a:extLst>
          </p:cNvPr>
          <p:cNvSpPr txBox="1"/>
          <p:nvPr/>
        </p:nvSpPr>
        <p:spPr>
          <a:xfrm>
            <a:off x="6716784" y="5913276"/>
            <a:ext cx="1683472" cy="360040"/>
          </a:xfrm>
          <a:prstGeom prst="rect">
            <a:avLst/>
          </a:prstGeom>
          <a:noFill/>
        </p:spPr>
        <p:txBody>
          <a:bodyPr vert="horz" wrap="square" lIns="0" tIns="1143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</a:pPr>
            <a:r>
              <a:rPr sz="2400" b="1" spc="-10" dirty="0">
                <a:latin typeface="+mj-lt"/>
                <a:cs typeface="EnBW DIN Pro"/>
              </a:rPr>
              <a:t>2,4</a:t>
            </a:r>
            <a:r>
              <a:rPr sz="2400" b="1" spc="-30" dirty="0">
                <a:latin typeface="+mj-lt"/>
                <a:cs typeface="EnBW DIN Pro"/>
              </a:rPr>
              <a:t> </a:t>
            </a:r>
            <a:r>
              <a:rPr sz="2400" b="1" spc="-25" dirty="0">
                <a:latin typeface="+mj-lt"/>
                <a:cs typeface="EnBW DIN Pro"/>
              </a:rPr>
              <a:t>Mrd.</a:t>
            </a:r>
            <a:r>
              <a:rPr sz="2400" b="1" spc="10" dirty="0">
                <a:latin typeface="+mj-lt"/>
                <a:cs typeface="EnBW DIN Pro"/>
              </a:rPr>
              <a:t> </a:t>
            </a:r>
            <a:r>
              <a:rPr sz="2400" b="1" spc="-10" dirty="0">
                <a:latin typeface="+mj-lt"/>
                <a:cs typeface="EnBW DIN Pro"/>
              </a:rPr>
              <a:t>€</a:t>
            </a:r>
            <a:endParaRPr sz="1200" dirty="0">
              <a:latin typeface="+mj-lt"/>
              <a:cs typeface="EnBW DIN Pro"/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2E4874D-9D8B-494B-83C8-A51EB8CDCBDA}"/>
              </a:ext>
            </a:extLst>
          </p:cNvPr>
          <p:cNvCxnSpPr>
            <a:cxnSpLocks/>
          </p:cNvCxnSpPr>
          <p:nvPr/>
        </p:nvCxnSpPr>
        <p:spPr>
          <a:xfrm>
            <a:off x="4871864" y="2537864"/>
            <a:ext cx="241226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27A42573-BB93-4151-B8D2-F64FA441A39F}"/>
              </a:ext>
            </a:extLst>
          </p:cNvPr>
          <p:cNvCxnSpPr>
            <a:cxnSpLocks/>
          </p:cNvCxnSpPr>
          <p:nvPr/>
        </p:nvCxnSpPr>
        <p:spPr>
          <a:xfrm>
            <a:off x="4475820" y="4316456"/>
            <a:ext cx="280831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19348BFE-6823-4941-9273-6FB929875205}"/>
              </a:ext>
            </a:extLst>
          </p:cNvPr>
          <p:cNvCxnSpPr>
            <a:cxnSpLocks/>
          </p:cNvCxnSpPr>
          <p:nvPr/>
        </p:nvCxnSpPr>
        <p:spPr>
          <a:xfrm>
            <a:off x="4871864" y="5262798"/>
            <a:ext cx="2556284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bject 27">
            <a:extLst>
              <a:ext uri="{FF2B5EF4-FFF2-40B4-BE49-F238E27FC236}">
                <a16:creationId xmlns:a16="http://schemas.microsoft.com/office/drawing/2014/main" id="{A00A6364-EE29-45DE-8E56-6C5E49585712}"/>
              </a:ext>
            </a:extLst>
          </p:cNvPr>
          <p:cNvSpPr txBox="1"/>
          <p:nvPr/>
        </p:nvSpPr>
        <p:spPr>
          <a:xfrm>
            <a:off x="5786284" y="5117031"/>
            <a:ext cx="720000" cy="2915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sz="1600" b="0" spc="50" dirty="0">
                <a:cs typeface="EnBW DIN Pro Medium"/>
              </a:rPr>
              <a:t>-</a:t>
            </a:r>
            <a:r>
              <a:rPr sz="1600" b="0" spc="-5" dirty="0">
                <a:cs typeface="EnBW DIN Pro Medium"/>
              </a:rPr>
              <a:t>8</a:t>
            </a:r>
            <a:r>
              <a:rPr sz="1600" b="0" spc="40" dirty="0">
                <a:cs typeface="EnBW DIN Pro Medium"/>
              </a:rPr>
              <a:t>0</a:t>
            </a:r>
            <a:r>
              <a:rPr sz="1600" b="0" spc="-10" dirty="0">
                <a:cs typeface="EnBW DIN Pro Medium"/>
              </a:rPr>
              <a:t>%</a:t>
            </a:r>
            <a:endParaRPr sz="1600" dirty="0">
              <a:cs typeface="EnBW DIN Pro Medium"/>
            </a:endParaRPr>
          </a:p>
        </p:txBody>
      </p:sp>
      <p:sp>
        <p:nvSpPr>
          <p:cNvPr id="46" name="object 31">
            <a:extLst>
              <a:ext uri="{FF2B5EF4-FFF2-40B4-BE49-F238E27FC236}">
                <a16:creationId xmlns:a16="http://schemas.microsoft.com/office/drawing/2014/main" id="{570455A5-91DD-451A-8E5E-CAE8F970315C}"/>
              </a:ext>
            </a:extLst>
          </p:cNvPr>
          <p:cNvSpPr txBox="1"/>
          <p:nvPr/>
        </p:nvSpPr>
        <p:spPr>
          <a:xfrm>
            <a:off x="5773307" y="3248981"/>
            <a:ext cx="720000" cy="2915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sz="1600" b="0" spc="45" dirty="0">
                <a:cs typeface="EnBW DIN Pro Medium"/>
              </a:rPr>
              <a:t>+</a:t>
            </a:r>
            <a:r>
              <a:rPr sz="1600" b="0" spc="-5" dirty="0">
                <a:cs typeface="EnBW DIN Pro Medium"/>
              </a:rPr>
              <a:t>2</a:t>
            </a:r>
            <a:r>
              <a:rPr sz="1600" b="0" spc="40" dirty="0">
                <a:cs typeface="EnBW DIN Pro Medium"/>
              </a:rPr>
              <a:t>5</a:t>
            </a:r>
            <a:r>
              <a:rPr sz="1600" b="0" spc="-10" dirty="0">
                <a:cs typeface="EnBW DIN Pro Medium"/>
              </a:rPr>
              <a:t>%</a:t>
            </a:r>
            <a:endParaRPr sz="1600" dirty="0">
              <a:cs typeface="EnBW DIN Pro Medium"/>
            </a:endParaRPr>
          </a:p>
        </p:txBody>
      </p:sp>
      <p:sp>
        <p:nvSpPr>
          <p:cNvPr id="47" name="object 33">
            <a:extLst>
              <a:ext uri="{FF2B5EF4-FFF2-40B4-BE49-F238E27FC236}">
                <a16:creationId xmlns:a16="http://schemas.microsoft.com/office/drawing/2014/main" id="{26FBD569-D7BC-436A-8B26-C13ED3645608}"/>
              </a:ext>
            </a:extLst>
          </p:cNvPr>
          <p:cNvSpPr txBox="1"/>
          <p:nvPr/>
        </p:nvSpPr>
        <p:spPr>
          <a:xfrm>
            <a:off x="5702207" y="2392097"/>
            <a:ext cx="720000" cy="2915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sz="1600" b="0" spc="45" dirty="0">
                <a:cs typeface="EnBW DIN Pro Medium"/>
              </a:rPr>
              <a:t>+</a:t>
            </a:r>
            <a:r>
              <a:rPr sz="1600" b="0" spc="-5" dirty="0">
                <a:cs typeface="EnBW DIN Pro Medium"/>
              </a:rPr>
              <a:t>10</a:t>
            </a:r>
            <a:r>
              <a:rPr sz="1600" b="0" spc="45" dirty="0">
                <a:cs typeface="EnBW DIN Pro Medium"/>
              </a:rPr>
              <a:t>0</a:t>
            </a:r>
            <a:r>
              <a:rPr sz="1600" b="0" spc="-10" dirty="0">
                <a:cs typeface="EnBW DIN Pro Medium"/>
              </a:rPr>
              <a:t>%</a:t>
            </a:r>
            <a:endParaRPr sz="1600" dirty="0">
              <a:cs typeface="EnBW DIN Pro Medium"/>
            </a:endParaRPr>
          </a:p>
        </p:txBody>
      </p:sp>
      <p:sp>
        <p:nvSpPr>
          <p:cNvPr id="48" name="object 29">
            <a:extLst>
              <a:ext uri="{FF2B5EF4-FFF2-40B4-BE49-F238E27FC236}">
                <a16:creationId xmlns:a16="http://schemas.microsoft.com/office/drawing/2014/main" id="{CBD2BF8B-EE1E-4022-95E6-7C19E211AB42}"/>
              </a:ext>
            </a:extLst>
          </p:cNvPr>
          <p:cNvSpPr txBox="1"/>
          <p:nvPr/>
        </p:nvSpPr>
        <p:spPr>
          <a:xfrm>
            <a:off x="5702207" y="4170689"/>
            <a:ext cx="720000" cy="2915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sz="1600" b="0" spc="45" dirty="0">
                <a:cs typeface="EnBW DIN Pro Medium"/>
              </a:rPr>
              <a:t>+</a:t>
            </a:r>
            <a:r>
              <a:rPr sz="1600" b="0" spc="-5" dirty="0">
                <a:cs typeface="EnBW DIN Pro Medium"/>
              </a:rPr>
              <a:t>25</a:t>
            </a:r>
            <a:r>
              <a:rPr sz="1600" b="0" spc="45" dirty="0">
                <a:cs typeface="EnBW DIN Pro Medium"/>
              </a:rPr>
              <a:t>0</a:t>
            </a:r>
            <a:r>
              <a:rPr sz="1600" b="0" spc="-10" dirty="0">
                <a:cs typeface="EnBW DIN Pro Medium"/>
              </a:rPr>
              <a:t>%</a:t>
            </a:r>
            <a:endParaRPr sz="1600" dirty="0">
              <a:cs typeface="EnBW DIN Pro Medium"/>
            </a:endParaRPr>
          </a:p>
        </p:txBody>
      </p:sp>
      <p:sp>
        <p:nvSpPr>
          <p:cNvPr id="49" name="object 18">
            <a:extLst>
              <a:ext uri="{FF2B5EF4-FFF2-40B4-BE49-F238E27FC236}">
                <a16:creationId xmlns:a16="http://schemas.microsoft.com/office/drawing/2014/main" id="{25500C0B-0211-448F-954B-3E2F7C239177}"/>
              </a:ext>
            </a:extLst>
          </p:cNvPr>
          <p:cNvSpPr>
            <a:spLocks noChangeAspect="1"/>
          </p:cNvSpPr>
          <p:nvPr/>
        </p:nvSpPr>
        <p:spPr>
          <a:xfrm>
            <a:off x="4267563" y="2214649"/>
            <a:ext cx="649605" cy="646430"/>
          </a:xfrm>
          <a:custGeom>
            <a:avLst/>
            <a:gdLst/>
            <a:ahLst/>
            <a:cxnLst/>
            <a:rect l="l" t="t" r="r" b="b"/>
            <a:pathLst>
              <a:path w="649604" h="646430">
                <a:moveTo>
                  <a:pt x="324612" y="0"/>
                </a:moveTo>
                <a:lnTo>
                  <a:pt x="276644" y="3503"/>
                </a:lnTo>
                <a:lnTo>
                  <a:pt x="230861" y="13679"/>
                </a:lnTo>
                <a:lnTo>
                  <a:pt x="187765" y="30028"/>
                </a:lnTo>
                <a:lnTo>
                  <a:pt x="147859" y="52051"/>
                </a:lnTo>
                <a:lnTo>
                  <a:pt x="111644" y="79248"/>
                </a:lnTo>
                <a:lnTo>
                  <a:pt x="79623" y="111119"/>
                </a:lnTo>
                <a:lnTo>
                  <a:pt x="52298" y="147163"/>
                </a:lnTo>
                <a:lnTo>
                  <a:pt x="30171" y="186882"/>
                </a:lnTo>
                <a:lnTo>
                  <a:pt x="13744" y="229776"/>
                </a:lnTo>
                <a:lnTo>
                  <a:pt x="3519" y="275344"/>
                </a:lnTo>
                <a:lnTo>
                  <a:pt x="0" y="323088"/>
                </a:lnTo>
                <a:lnTo>
                  <a:pt x="3519" y="370831"/>
                </a:lnTo>
                <a:lnTo>
                  <a:pt x="13744" y="416399"/>
                </a:lnTo>
                <a:lnTo>
                  <a:pt x="30171" y="459293"/>
                </a:lnTo>
                <a:lnTo>
                  <a:pt x="52298" y="499012"/>
                </a:lnTo>
                <a:lnTo>
                  <a:pt x="79623" y="535056"/>
                </a:lnTo>
                <a:lnTo>
                  <a:pt x="111644" y="566927"/>
                </a:lnTo>
                <a:lnTo>
                  <a:pt x="147859" y="594124"/>
                </a:lnTo>
                <a:lnTo>
                  <a:pt x="187765" y="616147"/>
                </a:lnTo>
                <a:lnTo>
                  <a:pt x="230861" y="632496"/>
                </a:lnTo>
                <a:lnTo>
                  <a:pt x="276644" y="642672"/>
                </a:lnTo>
                <a:lnTo>
                  <a:pt x="324612" y="646176"/>
                </a:lnTo>
                <a:lnTo>
                  <a:pt x="372579" y="642672"/>
                </a:lnTo>
                <a:lnTo>
                  <a:pt x="418362" y="632496"/>
                </a:lnTo>
                <a:lnTo>
                  <a:pt x="461458" y="616147"/>
                </a:lnTo>
                <a:lnTo>
                  <a:pt x="501364" y="594124"/>
                </a:lnTo>
                <a:lnTo>
                  <a:pt x="537579" y="566927"/>
                </a:lnTo>
                <a:lnTo>
                  <a:pt x="569600" y="535056"/>
                </a:lnTo>
                <a:lnTo>
                  <a:pt x="596925" y="499012"/>
                </a:lnTo>
                <a:lnTo>
                  <a:pt x="619052" y="459293"/>
                </a:lnTo>
                <a:lnTo>
                  <a:pt x="635479" y="416399"/>
                </a:lnTo>
                <a:lnTo>
                  <a:pt x="645704" y="370831"/>
                </a:lnTo>
                <a:lnTo>
                  <a:pt x="649224" y="323088"/>
                </a:lnTo>
                <a:lnTo>
                  <a:pt x="645704" y="275344"/>
                </a:lnTo>
                <a:lnTo>
                  <a:pt x="635479" y="229776"/>
                </a:lnTo>
                <a:lnTo>
                  <a:pt x="619052" y="186882"/>
                </a:lnTo>
                <a:lnTo>
                  <a:pt x="596925" y="147163"/>
                </a:lnTo>
                <a:lnTo>
                  <a:pt x="569600" y="111119"/>
                </a:lnTo>
                <a:lnTo>
                  <a:pt x="537579" y="79248"/>
                </a:lnTo>
                <a:lnTo>
                  <a:pt x="501364" y="52051"/>
                </a:lnTo>
                <a:lnTo>
                  <a:pt x="461458" y="30028"/>
                </a:lnTo>
                <a:lnTo>
                  <a:pt x="418362" y="13679"/>
                </a:lnTo>
                <a:lnTo>
                  <a:pt x="372579" y="3503"/>
                </a:lnTo>
                <a:lnTo>
                  <a:pt x="324612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200" b="1" dirty="0">
                <a:solidFill>
                  <a:schemeClr val="bg1"/>
                </a:solidFill>
                <a:cs typeface="EnBW DIN Pro"/>
              </a:rPr>
              <a:t>0,2</a:t>
            </a:r>
            <a:endParaRPr lang="de-DE" sz="2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rd.</a:t>
            </a:r>
            <a:r>
              <a:rPr lang="de-DE" sz="1200" spc="-70" dirty="0">
                <a:solidFill>
                  <a:schemeClr val="bg1"/>
                </a:solidFill>
                <a:cs typeface="EnBW DIN Pro"/>
              </a:rPr>
              <a:t> 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€</a:t>
            </a:r>
          </a:p>
        </p:txBody>
      </p:sp>
      <p:sp>
        <p:nvSpPr>
          <p:cNvPr id="50" name="object 20">
            <a:extLst>
              <a:ext uri="{FF2B5EF4-FFF2-40B4-BE49-F238E27FC236}">
                <a16:creationId xmlns:a16="http://schemas.microsoft.com/office/drawing/2014/main" id="{BE30C678-54C5-4FDE-9001-BFD9948B8A84}"/>
              </a:ext>
            </a:extLst>
          </p:cNvPr>
          <p:cNvSpPr>
            <a:spLocks noChangeAspect="1"/>
          </p:cNvSpPr>
          <p:nvPr/>
        </p:nvSpPr>
        <p:spPr>
          <a:xfrm>
            <a:off x="4090715" y="4761148"/>
            <a:ext cx="1003300" cy="1003300"/>
          </a:xfrm>
          <a:custGeom>
            <a:avLst/>
            <a:gdLst/>
            <a:ahLst/>
            <a:cxnLst/>
            <a:rect l="l" t="t" r="r" b="b"/>
            <a:pathLst>
              <a:path w="1003300" h="1003300">
                <a:moveTo>
                  <a:pt x="501395" y="0"/>
                </a:moveTo>
                <a:lnTo>
                  <a:pt x="453108" y="2295"/>
                </a:lnTo>
                <a:lnTo>
                  <a:pt x="406119" y="9041"/>
                </a:lnTo>
                <a:lnTo>
                  <a:pt x="360639" y="20027"/>
                </a:lnTo>
                <a:lnTo>
                  <a:pt x="316878" y="35043"/>
                </a:lnTo>
                <a:lnTo>
                  <a:pt x="275045" y="53879"/>
                </a:lnTo>
                <a:lnTo>
                  <a:pt x="235352" y="76326"/>
                </a:lnTo>
                <a:lnTo>
                  <a:pt x="198008" y="102172"/>
                </a:lnTo>
                <a:lnTo>
                  <a:pt x="163223" y="131208"/>
                </a:lnTo>
                <a:lnTo>
                  <a:pt x="131208" y="163223"/>
                </a:lnTo>
                <a:lnTo>
                  <a:pt x="102172" y="198008"/>
                </a:lnTo>
                <a:lnTo>
                  <a:pt x="76326" y="235352"/>
                </a:lnTo>
                <a:lnTo>
                  <a:pt x="53879" y="275045"/>
                </a:lnTo>
                <a:lnTo>
                  <a:pt x="35043" y="316878"/>
                </a:lnTo>
                <a:lnTo>
                  <a:pt x="20027" y="360639"/>
                </a:lnTo>
                <a:lnTo>
                  <a:pt x="9041" y="406119"/>
                </a:lnTo>
                <a:lnTo>
                  <a:pt x="2295" y="453108"/>
                </a:lnTo>
                <a:lnTo>
                  <a:pt x="0" y="501395"/>
                </a:lnTo>
                <a:lnTo>
                  <a:pt x="2295" y="549683"/>
                </a:lnTo>
                <a:lnTo>
                  <a:pt x="9041" y="596672"/>
                </a:lnTo>
                <a:lnTo>
                  <a:pt x="20027" y="642152"/>
                </a:lnTo>
                <a:lnTo>
                  <a:pt x="35043" y="685913"/>
                </a:lnTo>
                <a:lnTo>
                  <a:pt x="53879" y="727746"/>
                </a:lnTo>
                <a:lnTo>
                  <a:pt x="76326" y="767439"/>
                </a:lnTo>
                <a:lnTo>
                  <a:pt x="102172" y="804783"/>
                </a:lnTo>
                <a:lnTo>
                  <a:pt x="131208" y="839568"/>
                </a:lnTo>
                <a:lnTo>
                  <a:pt x="163223" y="871583"/>
                </a:lnTo>
                <a:lnTo>
                  <a:pt x="198008" y="900619"/>
                </a:lnTo>
                <a:lnTo>
                  <a:pt x="235352" y="926465"/>
                </a:lnTo>
                <a:lnTo>
                  <a:pt x="275045" y="948912"/>
                </a:lnTo>
                <a:lnTo>
                  <a:pt x="316878" y="967748"/>
                </a:lnTo>
                <a:lnTo>
                  <a:pt x="360639" y="982764"/>
                </a:lnTo>
                <a:lnTo>
                  <a:pt x="406119" y="993750"/>
                </a:lnTo>
                <a:lnTo>
                  <a:pt x="453108" y="1000496"/>
                </a:lnTo>
                <a:lnTo>
                  <a:pt x="501395" y="1002791"/>
                </a:lnTo>
                <a:lnTo>
                  <a:pt x="549683" y="1000496"/>
                </a:lnTo>
                <a:lnTo>
                  <a:pt x="596672" y="993750"/>
                </a:lnTo>
                <a:lnTo>
                  <a:pt x="642152" y="982764"/>
                </a:lnTo>
                <a:lnTo>
                  <a:pt x="685913" y="967748"/>
                </a:lnTo>
                <a:lnTo>
                  <a:pt x="727746" y="948912"/>
                </a:lnTo>
                <a:lnTo>
                  <a:pt x="767439" y="926465"/>
                </a:lnTo>
                <a:lnTo>
                  <a:pt x="804783" y="900619"/>
                </a:lnTo>
                <a:lnTo>
                  <a:pt x="839568" y="871583"/>
                </a:lnTo>
                <a:lnTo>
                  <a:pt x="871583" y="839568"/>
                </a:lnTo>
                <a:lnTo>
                  <a:pt x="900619" y="804783"/>
                </a:lnTo>
                <a:lnTo>
                  <a:pt x="926465" y="767439"/>
                </a:lnTo>
                <a:lnTo>
                  <a:pt x="948912" y="727746"/>
                </a:lnTo>
                <a:lnTo>
                  <a:pt x="967748" y="685913"/>
                </a:lnTo>
                <a:lnTo>
                  <a:pt x="982764" y="642152"/>
                </a:lnTo>
                <a:lnTo>
                  <a:pt x="993750" y="596672"/>
                </a:lnTo>
                <a:lnTo>
                  <a:pt x="1000496" y="549683"/>
                </a:lnTo>
                <a:lnTo>
                  <a:pt x="1002791" y="501395"/>
                </a:lnTo>
                <a:lnTo>
                  <a:pt x="1000496" y="453108"/>
                </a:lnTo>
                <a:lnTo>
                  <a:pt x="993750" y="406119"/>
                </a:lnTo>
                <a:lnTo>
                  <a:pt x="982764" y="360639"/>
                </a:lnTo>
                <a:lnTo>
                  <a:pt x="967748" y="316878"/>
                </a:lnTo>
                <a:lnTo>
                  <a:pt x="948912" y="275045"/>
                </a:lnTo>
                <a:lnTo>
                  <a:pt x="926465" y="235352"/>
                </a:lnTo>
                <a:lnTo>
                  <a:pt x="900619" y="198008"/>
                </a:lnTo>
                <a:lnTo>
                  <a:pt x="871583" y="163223"/>
                </a:lnTo>
                <a:lnTo>
                  <a:pt x="839568" y="131208"/>
                </a:lnTo>
                <a:lnTo>
                  <a:pt x="804783" y="102172"/>
                </a:lnTo>
                <a:lnTo>
                  <a:pt x="767439" y="76326"/>
                </a:lnTo>
                <a:lnTo>
                  <a:pt x="727746" y="53879"/>
                </a:lnTo>
                <a:lnTo>
                  <a:pt x="685913" y="35043"/>
                </a:lnTo>
                <a:lnTo>
                  <a:pt x="642152" y="20027"/>
                </a:lnTo>
                <a:lnTo>
                  <a:pt x="596672" y="9041"/>
                </a:lnTo>
                <a:lnTo>
                  <a:pt x="549683" y="2295"/>
                </a:lnTo>
                <a:lnTo>
                  <a:pt x="501395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3200" b="1" spc="-10" dirty="0">
                <a:solidFill>
                  <a:schemeClr val="bg1"/>
                </a:solidFill>
                <a:cs typeface="EnBW DIN Pro"/>
              </a:rPr>
              <a:t>1,2</a:t>
            </a:r>
            <a:endParaRPr lang="de-DE" sz="3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</a:t>
            </a:r>
            <a:r>
              <a:rPr lang="de-DE" sz="1200" spc="-50" dirty="0">
                <a:solidFill>
                  <a:schemeClr val="bg1"/>
                </a:solidFill>
                <a:cs typeface="EnBW DIN Pro"/>
              </a:rPr>
              <a:t>r</a:t>
            </a:r>
            <a:r>
              <a:rPr lang="de-DE" sz="1200" spc="-10" dirty="0">
                <a:solidFill>
                  <a:schemeClr val="bg1"/>
                </a:solidFill>
                <a:cs typeface="EnBW DIN Pro"/>
              </a:rPr>
              <a:t>d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. €</a:t>
            </a:r>
          </a:p>
        </p:txBody>
      </p:sp>
      <p:sp>
        <p:nvSpPr>
          <p:cNvPr id="51" name="object 22">
            <a:extLst>
              <a:ext uri="{FF2B5EF4-FFF2-40B4-BE49-F238E27FC236}">
                <a16:creationId xmlns:a16="http://schemas.microsoft.com/office/drawing/2014/main" id="{81E64D7D-1595-43DC-BFD0-A7C2F5341A73}"/>
              </a:ext>
            </a:extLst>
          </p:cNvPr>
          <p:cNvSpPr>
            <a:spLocks noChangeAspect="1"/>
          </p:cNvSpPr>
          <p:nvPr/>
        </p:nvSpPr>
        <p:spPr>
          <a:xfrm>
            <a:off x="4276770" y="4000861"/>
            <a:ext cx="631190" cy="631190"/>
          </a:xfrm>
          <a:custGeom>
            <a:avLst/>
            <a:gdLst/>
            <a:ahLst/>
            <a:cxnLst/>
            <a:rect l="l" t="t" r="r" b="b"/>
            <a:pathLst>
              <a:path w="631190" h="631189">
                <a:moveTo>
                  <a:pt x="315468" y="0"/>
                </a:moveTo>
                <a:lnTo>
                  <a:pt x="268849" y="3420"/>
                </a:lnTo>
                <a:lnTo>
                  <a:pt x="224355" y="13356"/>
                </a:lnTo>
                <a:lnTo>
                  <a:pt x="182473" y="29319"/>
                </a:lnTo>
                <a:lnTo>
                  <a:pt x="143690" y="50823"/>
                </a:lnTo>
                <a:lnTo>
                  <a:pt x="108496" y="77377"/>
                </a:lnTo>
                <a:lnTo>
                  <a:pt x="77377" y="108496"/>
                </a:lnTo>
                <a:lnTo>
                  <a:pt x="50823" y="143690"/>
                </a:lnTo>
                <a:lnTo>
                  <a:pt x="29319" y="182473"/>
                </a:lnTo>
                <a:lnTo>
                  <a:pt x="13356" y="224355"/>
                </a:lnTo>
                <a:lnTo>
                  <a:pt x="3420" y="268849"/>
                </a:lnTo>
                <a:lnTo>
                  <a:pt x="0" y="315468"/>
                </a:lnTo>
                <a:lnTo>
                  <a:pt x="3420" y="362086"/>
                </a:lnTo>
                <a:lnTo>
                  <a:pt x="13356" y="406580"/>
                </a:lnTo>
                <a:lnTo>
                  <a:pt x="29319" y="448462"/>
                </a:lnTo>
                <a:lnTo>
                  <a:pt x="50823" y="487245"/>
                </a:lnTo>
                <a:lnTo>
                  <a:pt x="77377" y="522439"/>
                </a:lnTo>
                <a:lnTo>
                  <a:pt x="108496" y="553558"/>
                </a:lnTo>
                <a:lnTo>
                  <a:pt x="143690" y="580112"/>
                </a:lnTo>
                <a:lnTo>
                  <a:pt x="182473" y="601616"/>
                </a:lnTo>
                <a:lnTo>
                  <a:pt x="224355" y="617579"/>
                </a:lnTo>
                <a:lnTo>
                  <a:pt x="268849" y="627515"/>
                </a:lnTo>
                <a:lnTo>
                  <a:pt x="315468" y="630936"/>
                </a:lnTo>
                <a:lnTo>
                  <a:pt x="362086" y="627515"/>
                </a:lnTo>
                <a:lnTo>
                  <a:pt x="406580" y="617579"/>
                </a:lnTo>
                <a:lnTo>
                  <a:pt x="448462" y="601616"/>
                </a:lnTo>
                <a:lnTo>
                  <a:pt x="487245" y="580112"/>
                </a:lnTo>
                <a:lnTo>
                  <a:pt x="522439" y="553558"/>
                </a:lnTo>
                <a:lnTo>
                  <a:pt x="553558" y="522439"/>
                </a:lnTo>
                <a:lnTo>
                  <a:pt x="580112" y="487245"/>
                </a:lnTo>
                <a:lnTo>
                  <a:pt x="601616" y="448462"/>
                </a:lnTo>
                <a:lnTo>
                  <a:pt x="617579" y="406580"/>
                </a:lnTo>
                <a:lnTo>
                  <a:pt x="627515" y="362086"/>
                </a:lnTo>
                <a:lnTo>
                  <a:pt x="630936" y="315468"/>
                </a:lnTo>
                <a:lnTo>
                  <a:pt x="627515" y="268849"/>
                </a:lnTo>
                <a:lnTo>
                  <a:pt x="617579" y="224355"/>
                </a:lnTo>
                <a:lnTo>
                  <a:pt x="601616" y="182473"/>
                </a:lnTo>
                <a:lnTo>
                  <a:pt x="580112" y="143690"/>
                </a:lnTo>
                <a:lnTo>
                  <a:pt x="553558" y="108496"/>
                </a:lnTo>
                <a:lnTo>
                  <a:pt x="522439" y="77377"/>
                </a:lnTo>
                <a:lnTo>
                  <a:pt x="487245" y="50823"/>
                </a:lnTo>
                <a:lnTo>
                  <a:pt x="448462" y="29319"/>
                </a:lnTo>
                <a:lnTo>
                  <a:pt x="406580" y="13356"/>
                </a:lnTo>
                <a:lnTo>
                  <a:pt x="362086" y="3420"/>
                </a:lnTo>
                <a:lnTo>
                  <a:pt x="315468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200" b="1" dirty="0">
                <a:solidFill>
                  <a:schemeClr val="bg1"/>
                </a:solidFill>
                <a:cs typeface="EnBW DIN Pro"/>
              </a:rPr>
              <a:t>0,2</a:t>
            </a:r>
            <a:endParaRPr lang="de-DE" sz="2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rd.</a:t>
            </a:r>
            <a:r>
              <a:rPr lang="de-DE" sz="1200" spc="-70" dirty="0">
                <a:solidFill>
                  <a:schemeClr val="bg1"/>
                </a:solidFill>
                <a:cs typeface="EnBW DIN Pro"/>
              </a:rPr>
              <a:t> 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€</a:t>
            </a:r>
          </a:p>
        </p:txBody>
      </p:sp>
      <p:sp>
        <p:nvSpPr>
          <p:cNvPr id="52" name="object 16">
            <a:extLst>
              <a:ext uri="{FF2B5EF4-FFF2-40B4-BE49-F238E27FC236}">
                <a16:creationId xmlns:a16="http://schemas.microsoft.com/office/drawing/2014/main" id="{4EDA2DE9-E7E6-4C74-B34F-C30DDC1A0DF1}"/>
              </a:ext>
            </a:extLst>
          </p:cNvPr>
          <p:cNvSpPr>
            <a:spLocks noChangeAspect="1"/>
          </p:cNvSpPr>
          <p:nvPr/>
        </p:nvSpPr>
        <p:spPr>
          <a:xfrm>
            <a:off x="7124720" y="2960948"/>
            <a:ext cx="867600" cy="867600"/>
          </a:xfrm>
          <a:custGeom>
            <a:avLst/>
            <a:gdLst/>
            <a:ahLst/>
            <a:cxnLst/>
            <a:rect l="l" t="t" r="r" b="b"/>
            <a:pathLst>
              <a:path w="862965" h="862964">
                <a:moveTo>
                  <a:pt x="431292" y="0"/>
                </a:moveTo>
                <a:lnTo>
                  <a:pt x="384297" y="2530"/>
                </a:lnTo>
                <a:lnTo>
                  <a:pt x="338768" y="9947"/>
                </a:lnTo>
                <a:lnTo>
                  <a:pt x="294968" y="21987"/>
                </a:lnTo>
                <a:lnTo>
                  <a:pt x="253160" y="38386"/>
                </a:lnTo>
                <a:lnTo>
                  <a:pt x="213608" y="58882"/>
                </a:lnTo>
                <a:lnTo>
                  <a:pt x="176574" y="83212"/>
                </a:lnTo>
                <a:lnTo>
                  <a:pt x="142321" y="111113"/>
                </a:lnTo>
                <a:lnTo>
                  <a:pt x="111113" y="142321"/>
                </a:lnTo>
                <a:lnTo>
                  <a:pt x="83212" y="176574"/>
                </a:lnTo>
                <a:lnTo>
                  <a:pt x="58882" y="213608"/>
                </a:lnTo>
                <a:lnTo>
                  <a:pt x="38386" y="253160"/>
                </a:lnTo>
                <a:lnTo>
                  <a:pt x="21987" y="294968"/>
                </a:lnTo>
                <a:lnTo>
                  <a:pt x="9947" y="338768"/>
                </a:lnTo>
                <a:lnTo>
                  <a:pt x="2530" y="384297"/>
                </a:lnTo>
                <a:lnTo>
                  <a:pt x="0" y="431291"/>
                </a:lnTo>
                <a:lnTo>
                  <a:pt x="2530" y="478286"/>
                </a:lnTo>
                <a:lnTo>
                  <a:pt x="9947" y="523815"/>
                </a:lnTo>
                <a:lnTo>
                  <a:pt x="21987" y="567615"/>
                </a:lnTo>
                <a:lnTo>
                  <a:pt x="38386" y="609423"/>
                </a:lnTo>
                <a:lnTo>
                  <a:pt x="58882" y="648975"/>
                </a:lnTo>
                <a:lnTo>
                  <a:pt x="83212" y="686009"/>
                </a:lnTo>
                <a:lnTo>
                  <a:pt x="111113" y="720262"/>
                </a:lnTo>
                <a:lnTo>
                  <a:pt x="142321" y="751470"/>
                </a:lnTo>
                <a:lnTo>
                  <a:pt x="176574" y="779371"/>
                </a:lnTo>
                <a:lnTo>
                  <a:pt x="213608" y="803701"/>
                </a:lnTo>
                <a:lnTo>
                  <a:pt x="253160" y="824197"/>
                </a:lnTo>
                <a:lnTo>
                  <a:pt x="294968" y="840596"/>
                </a:lnTo>
                <a:lnTo>
                  <a:pt x="338768" y="852636"/>
                </a:lnTo>
                <a:lnTo>
                  <a:pt x="384297" y="860053"/>
                </a:lnTo>
                <a:lnTo>
                  <a:pt x="431292" y="862583"/>
                </a:lnTo>
                <a:lnTo>
                  <a:pt x="478286" y="860053"/>
                </a:lnTo>
                <a:lnTo>
                  <a:pt x="523815" y="852636"/>
                </a:lnTo>
                <a:lnTo>
                  <a:pt x="567615" y="840596"/>
                </a:lnTo>
                <a:lnTo>
                  <a:pt x="609423" y="824197"/>
                </a:lnTo>
                <a:lnTo>
                  <a:pt x="648975" y="803701"/>
                </a:lnTo>
                <a:lnTo>
                  <a:pt x="686009" y="779371"/>
                </a:lnTo>
                <a:lnTo>
                  <a:pt x="720262" y="751470"/>
                </a:lnTo>
                <a:lnTo>
                  <a:pt x="751470" y="720262"/>
                </a:lnTo>
                <a:lnTo>
                  <a:pt x="779371" y="686009"/>
                </a:lnTo>
                <a:lnTo>
                  <a:pt x="803701" y="648975"/>
                </a:lnTo>
                <a:lnTo>
                  <a:pt x="824197" y="609423"/>
                </a:lnTo>
                <a:lnTo>
                  <a:pt x="840596" y="567615"/>
                </a:lnTo>
                <a:lnTo>
                  <a:pt x="852636" y="523815"/>
                </a:lnTo>
                <a:lnTo>
                  <a:pt x="860053" y="478286"/>
                </a:lnTo>
                <a:lnTo>
                  <a:pt x="862584" y="431291"/>
                </a:lnTo>
                <a:lnTo>
                  <a:pt x="860053" y="384297"/>
                </a:lnTo>
                <a:lnTo>
                  <a:pt x="852636" y="338768"/>
                </a:lnTo>
                <a:lnTo>
                  <a:pt x="840596" y="294968"/>
                </a:lnTo>
                <a:lnTo>
                  <a:pt x="824197" y="253160"/>
                </a:lnTo>
                <a:lnTo>
                  <a:pt x="803701" y="213608"/>
                </a:lnTo>
                <a:lnTo>
                  <a:pt x="779371" y="176574"/>
                </a:lnTo>
                <a:lnTo>
                  <a:pt x="751470" y="142321"/>
                </a:lnTo>
                <a:lnTo>
                  <a:pt x="720262" y="111113"/>
                </a:lnTo>
                <a:lnTo>
                  <a:pt x="686009" y="83212"/>
                </a:lnTo>
                <a:lnTo>
                  <a:pt x="648975" y="58882"/>
                </a:lnTo>
                <a:lnTo>
                  <a:pt x="609423" y="38386"/>
                </a:lnTo>
                <a:lnTo>
                  <a:pt x="567615" y="21987"/>
                </a:lnTo>
                <a:lnTo>
                  <a:pt x="523815" y="9947"/>
                </a:lnTo>
                <a:lnTo>
                  <a:pt x="478286" y="2530"/>
                </a:lnTo>
                <a:lnTo>
                  <a:pt x="431292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3200" b="1" spc="-10" dirty="0">
                <a:solidFill>
                  <a:schemeClr val="bg1"/>
                </a:solidFill>
                <a:cs typeface="EnBW DIN Pro"/>
              </a:rPr>
              <a:t>1,0</a:t>
            </a:r>
            <a:endParaRPr lang="de-DE" sz="3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</a:t>
            </a:r>
            <a:r>
              <a:rPr lang="de-DE" sz="1200" spc="-50" dirty="0">
                <a:solidFill>
                  <a:schemeClr val="bg1"/>
                </a:solidFill>
                <a:cs typeface="EnBW DIN Pro"/>
              </a:rPr>
              <a:t>r</a:t>
            </a:r>
            <a:r>
              <a:rPr lang="de-DE" sz="1200" spc="-10" dirty="0">
                <a:solidFill>
                  <a:schemeClr val="bg1"/>
                </a:solidFill>
                <a:cs typeface="EnBW DIN Pro"/>
              </a:rPr>
              <a:t>d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. €</a:t>
            </a:r>
          </a:p>
        </p:txBody>
      </p:sp>
      <p:sp>
        <p:nvSpPr>
          <p:cNvPr id="53" name="object 18">
            <a:extLst>
              <a:ext uri="{FF2B5EF4-FFF2-40B4-BE49-F238E27FC236}">
                <a16:creationId xmlns:a16="http://schemas.microsoft.com/office/drawing/2014/main" id="{54E29337-37B2-46BB-BEC8-AB47660585BC}"/>
              </a:ext>
            </a:extLst>
          </p:cNvPr>
          <p:cNvSpPr>
            <a:spLocks noChangeAspect="1"/>
          </p:cNvSpPr>
          <p:nvPr/>
        </p:nvSpPr>
        <p:spPr>
          <a:xfrm>
            <a:off x="7223885" y="2204864"/>
            <a:ext cx="669271" cy="666000"/>
          </a:xfrm>
          <a:custGeom>
            <a:avLst/>
            <a:gdLst/>
            <a:ahLst/>
            <a:cxnLst/>
            <a:rect l="l" t="t" r="r" b="b"/>
            <a:pathLst>
              <a:path w="649604" h="646430">
                <a:moveTo>
                  <a:pt x="324612" y="0"/>
                </a:moveTo>
                <a:lnTo>
                  <a:pt x="276644" y="3503"/>
                </a:lnTo>
                <a:lnTo>
                  <a:pt x="230861" y="13679"/>
                </a:lnTo>
                <a:lnTo>
                  <a:pt x="187765" y="30028"/>
                </a:lnTo>
                <a:lnTo>
                  <a:pt x="147859" y="52051"/>
                </a:lnTo>
                <a:lnTo>
                  <a:pt x="111644" y="79248"/>
                </a:lnTo>
                <a:lnTo>
                  <a:pt x="79623" y="111119"/>
                </a:lnTo>
                <a:lnTo>
                  <a:pt x="52298" y="147163"/>
                </a:lnTo>
                <a:lnTo>
                  <a:pt x="30171" y="186882"/>
                </a:lnTo>
                <a:lnTo>
                  <a:pt x="13744" y="229776"/>
                </a:lnTo>
                <a:lnTo>
                  <a:pt x="3519" y="275344"/>
                </a:lnTo>
                <a:lnTo>
                  <a:pt x="0" y="323088"/>
                </a:lnTo>
                <a:lnTo>
                  <a:pt x="3519" y="370831"/>
                </a:lnTo>
                <a:lnTo>
                  <a:pt x="13744" y="416399"/>
                </a:lnTo>
                <a:lnTo>
                  <a:pt x="30171" y="459293"/>
                </a:lnTo>
                <a:lnTo>
                  <a:pt x="52298" y="499012"/>
                </a:lnTo>
                <a:lnTo>
                  <a:pt x="79623" y="535056"/>
                </a:lnTo>
                <a:lnTo>
                  <a:pt x="111644" y="566927"/>
                </a:lnTo>
                <a:lnTo>
                  <a:pt x="147859" y="594124"/>
                </a:lnTo>
                <a:lnTo>
                  <a:pt x="187765" y="616147"/>
                </a:lnTo>
                <a:lnTo>
                  <a:pt x="230861" y="632496"/>
                </a:lnTo>
                <a:lnTo>
                  <a:pt x="276644" y="642672"/>
                </a:lnTo>
                <a:lnTo>
                  <a:pt x="324612" y="646176"/>
                </a:lnTo>
                <a:lnTo>
                  <a:pt x="372579" y="642672"/>
                </a:lnTo>
                <a:lnTo>
                  <a:pt x="418362" y="632496"/>
                </a:lnTo>
                <a:lnTo>
                  <a:pt x="461458" y="616147"/>
                </a:lnTo>
                <a:lnTo>
                  <a:pt x="501364" y="594124"/>
                </a:lnTo>
                <a:lnTo>
                  <a:pt x="537579" y="566927"/>
                </a:lnTo>
                <a:lnTo>
                  <a:pt x="569600" y="535056"/>
                </a:lnTo>
                <a:lnTo>
                  <a:pt x="596925" y="499012"/>
                </a:lnTo>
                <a:lnTo>
                  <a:pt x="619052" y="459293"/>
                </a:lnTo>
                <a:lnTo>
                  <a:pt x="635479" y="416399"/>
                </a:lnTo>
                <a:lnTo>
                  <a:pt x="645704" y="370831"/>
                </a:lnTo>
                <a:lnTo>
                  <a:pt x="649224" y="323088"/>
                </a:lnTo>
                <a:lnTo>
                  <a:pt x="645704" y="275344"/>
                </a:lnTo>
                <a:lnTo>
                  <a:pt x="635479" y="229776"/>
                </a:lnTo>
                <a:lnTo>
                  <a:pt x="619052" y="186882"/>
                </a:lnTo>
                <a:lnTo>
                  <a:pt x="596925" y="147163"/>
                </a:lnTo>
                <a:lnTo>
                  <a:pt x="569600" y="111119"/>
                </a:lnTo>
                <a:lnTo>
                  <a:pt x="537579" y="79248"/>
                </a:lnTo>
                <a:lnTo>
                  <a:pt x="501364" y="52051"/>
                </a:lnTo>
                <a:lnTo>
                  <a:pt x="461458" y="30028"/>
                </a:lnTo>
                <a:lnTo>
                  <a:pt x="418362" y="13679"/>
                </a:lnTo>
                <a:lnTo>
                  <a:pt x="372579" y="3503"/>
                </a:lnTo>
                <a:lnTo>
                  <a:pt x="324612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400" b="1" dirty="0">
                <a:solidFill>
                  <a:schemeClr val="bg1"/>
                </a:solidFill>
                <a:cs typeface="EnBW DIN Pro"/>
              </a:rPr>
              <a:t>0,4</a:t>
            </a:r>
            <a:endParaRPr lang="de-DE" sz="24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</a:t>
            </a:r>
            <a:r>
              <a:rPr lang="de-DE" sz="1200" spc="-50" dirty="0">
                <a:solidFill>
                  <a:schemeClr val="bg1"/>
                </a:solidFill>
                <a:cs typeface="EnBW DIN Pro"/>
              </a:rPr>
              <a:t>r</a:t>
            </a:r>
            <a:r>
              <a:rPr lang="de-DE" sz="1200" spc="-10" dirty="0">
                <a:solidFill>
                  <a:schemeClr val="bg1"/>
                </a:solidFill>
                <a:cs typeface="EnBW DIN Pro"/>
              </a:rPr>
              <a:t>d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. €</a:t>
            </a:r>
          </a:p>
        </p:txBody>
      </p:sp>
      <p:sp>
        <p:nvSpPr>
          <p:cNvPr id="54" name="object 20">
            <a:extLst>
              <a:ext uri="{FF2B5EF4-FFF2-40B4-BE49-F238E27FC236}">
                <a16:creationId xmlns:a16="http://schemas.microsoft.com/office/drawing/2014/main" id="{3FB22B93-5D72-4D37-A959-1C6E7E817BD1}"/>
              </a:ext>
            </a:extLst>
          </p:cNvPr>
          <p:cNvSpPr>
            <a:spLocks noChangeAspect="1"/>
          </p:cNvSpPr>
          <p:nvPr/>
        </p:nvSpPr>
        <p:spPr>
          <a:xfrm>
            <a:off x="7241720" y="4945998"/>
            <a:ext cx="633600" cy="633600"/>
          </a:xfrm>
          <a:custGeom>
            <a:avLst/>
            <a:gdLst/>
            <a:ahLst/>
            <a:cxnLst/>
            <a:rect l="l" t="t" r="r" b="b"/>
            <a:pathLst>
              <a:path w="1003300" h="1003300">
                <a:moveTo>
                  <a:pt x="501395" y="0"/>
                </a:moveTo>
                <a:lnTo>
                  <a:pt x="453108" y="2295"/>
                </a:lnTo>
                <a:lnTo>
                  <a:pt x="406119" y="9041"/>
                </a:lnTo>
                <a:lnTo>
                  <a:pt x="360639" y="20027"/>
                </a:lnTo>
                <a:lnTo>
                  <a:pt x="316878" y="35043"/>
                </a:lnTo>
                <a:lnTo>
                  <a:pt x="275045" y="53879"/>
                </a:lnTo>
                <a:lnTo>
                  <a:pt x="235352" y="76326"/>
                </a:lnTo>
                <a:lnTo>
                  <a:pt x="198008" y="102172"/>
                </a:lnTo>
                <a:lnTo>
                  <a:pt x="163223" y="131208"/>
                </a:lnTo>
                <a:lnTo>
                  <a:pt x="131208" y="163223"/>
                </a:lnTo>
                <a:lnTo>
                  <a:pt x="102172" y="198008"/>
                </a:lnTo>
                <a:lnTo>
                  <a:pt x="76326" y="235352"/>
                </a:lnTo>
                <a:lnTo>
                  <a:pt x="53879" y="275045"/>
                </a:lnTo>
                <a:lnTo>
                  <a:pt x="35043" y="316878"/>
                </a:lnTo>
                <a:lnTo>
                  <a:pt x="20027" y="360639"/>
                </a:lnTo>
                <a:lnTo>
                  <a:pt x="9041" y="406119"/>
                </a:lnTo>
                <a:lnTo>
                  <a:pt x="2295" y="453108"/>
                </a:lnTo>
                <a:lnTo>
                  <a:pt x="0" y="501395"/>
                </a:lnTo>
                <a:lnTo>
                  <a:pt x="2295" y="549683"/>
                </a:lnTo>
                <a:lnTo>
                  <a:pt x="9041" y="596672"/>
                </a:lnTo>
                <a:lnTo>
                  <a:pt x="20027" y="642152"/>
                </a:lnTo>
                <a:lnTo>
                  <a:pt x="35043" y="685913"/>
                </a:lnTo>
                <a:lnTo>
                  <a:pt x="53879" y="727746"/>
                </a:lnTo>
                <a:lnTo>
                  <a:pt x="76326" y="767439"/>
                </a:lnTo>
                <a:lnTo>
                  <a:pt x="102172" y="804783"/>
                </a:lnTo>
                <a:lnTo>
                  <a:pt x="131208" y="839568"/>
                </a:lnTo>
                <a:lnTo>
                  <a:pt x="163223" y="871583"/>
                </a:lnTo>
                <a:lnTo>
                  <a:pt x="198008" y="900619"/>
                </a:lnTo>
                <a:lnTo>
                  <a:pt x="235352" y="926465"/>
                </a:lnTo>
                <a:lnTo>
                  <a:pt x="275045" y="948912"/>
                </a:lnTo>
                <a:lnTo>
                  <a:pt x="316878" y="967748"/>
                </a:lnTo>
                <a:lnTo>
                  <a:pt x="360639" y="982764"/>
                </a:lnTo>
                <a:lnTo>
                  <a:pt x="406119" y="993750"/>
                </a:lnTo>
                <a:lnTo>
                  <a:pt x="453108" y="1000496"/>
                </a:lnTo>
                <a:lnTo>
                  <a:pt x="501395" y="1002791"/>
                </a:lnTo>
                <a:lnTo>
                  <a:pt x="549683" y="1000496"/>
                </a:lnTo>
                <a:lnTo>
                  <a:pt x="596672" y="993750"/>
                </a:lnTo>
                <a:lnTo>
                  <a:pt x="642152" y="982764"/>
                </a:lnTo>
                <a:lnTo>
                  <a:pt x="685913" y="967748"/>
                </a:lnTo>
                <a:lnTo>
                  <a:pt x="727746" y="948912"/>
                </a:lnTo>
                <a:lnTo>
                  <a:pt x="767439" y="926465"/>
                </a:lnTo>
                <a:lnTo>
                  <a:pt x="804783" y="900619"/>
                </a:lnTo>
                <a:lnTo>
                  <a:pt x="839568" y="871583"/>
                </a:lnTo>
                <a:lnTo>
                  <a:pt x="871583" y="839568"/>
                </a:lnTo>
                <a:lnTo>
                  <a:pt x="900619" y="804783"/>
                </a:lnTo>
                <a:lnTo>
                  <a:pt x="926465" y="767439"/>
                </a:lnTo>
                <a:lnTo>
                  <a:pt x="948912" y="727746"/>
                </a:lnTo>
                <a:lnTo>
                  <a:pt x="967748" y="685913"/>
                </a:lnTo>
                <a:lnTo>
                  <a:pt x="982764" y="642152"/>
                </a:lnTo>
                <a:lnTo>
                  <a:pt x="993750" y="596672"/>
                </a:lnTo>
                <a:lnTo>
                  <a:pt x="1000496" y="549683"/>
                </a:lnTo>
                <a:lnTo>
                  <a:pt x="1002791" y="501395"/>
                </a:lnTo>
                <a:lnTo>
                  <a:pt x="1000496" y="453108"/>
                </a:lnTo>
                <a:lnTo>
                  <a:pt x="993750" y="406119"/>
                </a:lnTo>
                <a:lnTo>
                  <a:pt x="982764" y="360639"/>
                </a:lnTo>
                <a:lnTo>
                  <a:pt x="967748" y="316878"/>
                </a:lnTo>
                <a:lnTo>
                  <a:pt x="948912" y="275045"/>
                </a:lnTo>
                <a:lnTo>
                  <a:pt x="926465" y="235352"/>
                </a:lnTo>
                <a:lnTo>
                  <a:pt x="900619" y="198008"/>
                </a:lnTo>
                <a:lnTo>
                  <a:pt x="871583" y="163223"/>
                </a:lnTo>
                <a:lnTo>
                  <a:pt x="839568" y="131208"/>
                </a:lnTo>
                <a:lnTo>
                  <a:pt x="804783" y="102172"/>
                </a:lnTo>
                <a:lnTo>
                  <a:pt x="767439" y="76326"/>
                </a:lnTo>
                <a:lnTo>
                  <a:pt x="727746" y="53879"/>
                </a:lnTo>
                <a:lnTo>
                  <a:pt x="685913" y="35043"/>
                </a:lnTo>
                <a:lnTo>
                  <a:pt x="642152" y="20027"/>
                </a:lnTo>
                <a:lnTo>
                  <a:pt x="596672" y="9041"/>
                </a:lnTo>
                <a:lnTo>
                  <a:pt x="549683" y="2295"/>
                </a:lnTo>
                <a:lnTo>
                  <a:pt x="501395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200" b="1" dirty="0">
                <a:solidFill>
                  <a:schemeClr val="bg1"/>
                </a:solidFill>
                <a:cs typeface="EnBW DIN Pro"/>
              </a:rPr>
              <a:t>0,3</a:t>
            </a:r>
            <a:endParaRPr lang="de-DE" sz="2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rd.</a:t>
            </a:r>
            <a:r>
              <a:rPr lang="de-DE" sz="1200" spc="-70" dirty="0">
                <a:solidFill>
                  <a:schemeClr val="bg1"/>
                </a:solidFill>
                <a:cs typeface="EnBW DIN Pro"/>
              </a:rPr>
              <a:t> 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€</a:t>
            </a:r>
          </a:p>
        </p:txBody>
      </p:sp>
      <p:sp>
        <p:nvSpPr>
          <p:cNvPr id="55" name="object 22">
            <a:extLst>
              <a:ext uri="{FF2B5EF4-FFF2-40B4-BE49-F238E27FC236}">
                <a16:creationId xmlns:a16="http://schemas.microsoft.com/office/drawing/2014/main" id="{25BF1CBF-4DDF-4E93-B9BB-D94AED3F3650}"/>
              </a:ext>
            </a:extLst>
          </p:cNvPr>
          <p:cNvSpPr>
            <a:spLocks noChangeAspect="1"/>
          </p:cNvSpPr>
          <p:nvPr/>
        </p:nvSpPr>
        <p:spPr>
          <a:xfrm>
            <a:off x="7175120" y="3933056"/>
            <a:ext cx="766800" cy="766800"/>
          </a:xfrm>
          <a:custGeom>
            <a:avLst/>
            <a:gdLst/>
            <a:ahLst/>
            <a:cxnLst/>
            <a:rect l="l" t="t" r="r" b="b"/>
            <a:pathLst>
              <a:path w="631190" h="631189">
                <a:moveTo>
                  <a:pt x="315468" y="0"/>
                </a:moveTo>
                <a:lnTo>
                  <a:pt x="268849" y="3420"/>
                </a:lnTo>
                <a:lnTo>
                  <a:pt x="224355" y="13356"/>
                </a:lnTo>
                <a:lnTo>
                  <a:pt x="182473" y="29319"/>
                </a:lnTo>
                <a:lnTo>
                  <a:pt x="143690" y="50823"/>
                </a:lnTo>
                <a:lnTo>
                  <a:pt x="108496" y="77377"/>
                </a:lnTo>
                <a:lnTo>
                  <a:pt x="77377" y="108496"/>
                </a:lnTo>
                <a:lnTo>
                  <a:pt x="50823" y="143690"/>
                </a:lnTo>
                <a:lnTo>
                  <a:pt x="29319" y="182473"/>
                </a:lnTo>
                <a:lnTo>
                  <a:pt x="13356" y="224355"/>
                </a:lnTo>
                <a:lnTo>
                  <a:pt x="3420" y="268849"/>
                </a:lnTo>
                <a:lnTo>
                  <a:pt x="0" y="315468"/>
                </a:lnTo>
                <a:lnTo>
                  <a:pt x="3420" y="362086"/>
                </a:lnTo>
                <a:lnTo>
                  <a:pt x="13356" y="406580"/>
                </a:lnTo>
                <a:lnTo>
                  <a:pt x="29319" y="448462"/>
                </a:lnTo>
                <a:lnTo>
                  <a:pt x="50823" y="487245"/>
                </a:lnTo>
                <a:lnTo>
                  <a:pt x="77377" y="522439"/>
                </a:lnTo>
                <a:lnTo>
                  <a:pt x="108496" y="553558"/>
                </a:lnTo>
                <a:lnTo>
                  <a:pt x="143690" y="580112"/>
                </a:lnTo>
                <a:lnTo>
                  <a:pt x="182473" y="601616"/>
                </a:lnTo>
                <a:lnTo>
                  <a:pt x="224355" y="617579"/>
                </a:lnTo>
                <a:lnTo>
                  <a:pt x="268849" y="627515"/>
                </a:lnTo>
                <a:lnTo>
                  <a:pt x="315468" y="630936"/>
                </a:lnTo>
                <a:lnTo>
                  <a:pt x="362086" y="627515"/>
                </a:lnTo>
                <a:lnTo>
                  <a:pt x="406580" y="617579"/>
                </a:lnTo>
                <a:lnTo>
                  <a:pt x="448462" y="601616"/>
                </a:lnTo>
                <a:lnTo>
                  <a:pt x="487245" y="580112"/>
                </a:lnTo>
                <a:lnTo>
                  <a:pt x="522439" y="553558"/>
                </a:lnTo>
                <a:lnTo>
                  <a:pt x="553558" y="522439"/>
                </a:lnTo>
                <a:lnTo>
                  <a:pt x="580112" y="487245"/>
                </a:lnTo>
                <a:lnTo>
                  <a:pt x="601616" y="448462"/>
                </a:lnTo>
                <a:lnTo>
                  <a:pt x="617579" y="406580"/>
                </a:lnTo>
                <a:lnTo>
                  <a:pt x="627515" y="362086"/>
                </a:lnTo>
                <a:lnTo>
                  <a:pt x="630936" y="315468"/>
                </a:lnTo>
                <a:lnTo>
                  <a:pt x="627515" y="268849"/>
                </a:lnTo>
                <a:lnTo>
                  <a:pt x="617579" y="224355"/>
                </a:lnTo>
                <a:lnTo>
                  <a:pt x="601616" y="182473"/>
                </a:lnTo>
                <a:lnTo>
                  <a:pt x="580112" y="143690"/>
                </a:lnTo>
                <a:lnTo>
                  <a:pt x="553558" y="108496"/>
                </a:lnTo>
                <a:lnTo>
                  <a:pt x="522439" y="77377"/>
                </a:lnTo>
                <a:lnTo>
                  <a:pt x="487245" y="50823"/>
                </a:lnTo>
                <a:lnTo>
                  <a:pt x="448462" y="29319"/>
                </a:lnTo>
                <a:lnTo>
                  <a:pt x="406580" y="13356"/>
                </a:lnTo>
                <a:lnTo>
                  <a:pt x="362086" y="3420"/>
                </a:lnTo>
                <a:lnTo>
                  <a:pt x="315468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800" b="1" dirty="0">
                <a:solidFill>
                  <a:schemeClr val="bg1"/>
                </a:solidFill>
                <a:cs typeface="EnBW DIN Pro"/>
              </a:rPr>
              <a:t>0,7</a:t>
            </a:r>
            <a:endParaRPr lang="de-DE" sz="28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</a:t>
            </a:r>
            <a:r>
              <a:rPr lang="de-DE" sz="1200" spc="-50" dirty="0">
                <a:solidFill>
                  <a:schemeClr val="bg1"/>
                </a:solidFill>
                <a:cs typeface="EnBW DIN Pro"/>
              </a:rPr>
              <a:t>r</a:t>
            </a:r>
            <a:r>
              <a:rPr lang="de-DE" sz="1200" spc="-10" dirty="0">
                <a:solidFill>
                  <a:schemeClr val="bg1"/>
                </a:solidFill>
                <a:cs typeface="EnBW DIN Pro"/>
              </a:rPr>
              <a:t>d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. €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AB8F7BBB-0B25-4620-887C-73274CF7CAD8}"/>
              </a:ext>
            </a:extLst>
          </p:cNvPr>
          <p:cNvSpPr txBox="1"/>
          <p:nvPr/>
        </p:nvSpPr>
        <p:spPr>
          <a:xfrm>
            <a:off x="6975508" y="1844824"/>
            <a:ext cx="1166025" cy="276999"/>
          </a:xfrm>
          <a:prstGeom prst="rect">
            <a:avLst/>
          </a:prstGeom>
          <a:noFill/>
        </p:spPr>
        <p:txBody>
          <a:bodyPr wrap="none" lIns="0" tIns="0" rIns="0" bIns="0" anchor="b" anchorCtr="0">
            <a:spAutoFit/>
          </a:bodyPr>
          <a:lstStyle/>
          <a:p>
            <a:pPr marR="86440" algn="ctr"/>
            <a:r>
              <a:rPr lang="de-DE" i="0" u="none" strike="noStrike" baseline="0" dirty="0">
                <a:solidFill>
                  <a:schemeClr val="bg2"/>
                </a:solidFill>
                <a:latin typeface="+mj-lt"/>
              </a:rPr>
              <a:t>Ziel 2020</a:t>
            </a:r>
            <a:endParaRPr lang="de-DE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78FD661F-3A55-48E3-81BD-2CBE173B1586}"/>
              </a:ext>
            </a:extLst>
          </p:cNvPr>
          <p:cNvSpPr txBox="1"/>
          <p:nvPr/>
        </p:nvSpPr>
        <p:spPr>
          <a:xfrm>
            <a:off x="4059687" y="1844824"/>
            <a:ext cx="1065356" cy="276999"/>
          </a:xfrm>
          <a:prstGeom prst="rect">
            <a:avLst/>
          </a:prstGeom>
          <a:noFill/>
        </p:spPr>
        <p:txBody>
          <a:bodyPr wrap="none" lIns="0" tIns="0" rIns="0" bIns="0" anchor="b" anchorCtr="0">
            <a:spAutoFit/>
          </a:bodyPr>
          <a:lstStyle/>
          <a:p>
            <a:pPr marR="100740" algn="ctr"/>
            <a:r>
              <a:rPr lang="de-DE" i="0" u="none" strike="noStrike" baseline="0" dirty="0">
                <a:solidFill>
                  <a:schemeClr val="tx2"/>
                </a:solidFill>
                <a:latin typeface="+mj-lt"/>
              </a:rPr>
              <a:t>Ist 2020</a:t>
            </a:r>
            <a:endParaRPr lang="de-DE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B4D021D6-8F65-4CA7-AB1B-2271C9895656}"/>
              </a:ext>
            </a:extLst>
          </p:cNvPr>
          <p:cNvSpPr txBox="1"/>
          <p:nvPr/>
        </p:nvSpPr>
        <p:spPr>
          <a:xfrm>
            <a:off x="1235460" y="6273800"/>
            <a:ext cx="10548553" cy="179388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* </a:t>
            </a:r>
            <a:r>
              <a:rPr lang="de-DE" sz="1000" spc="10" dirty="0" err="1">
                <a:cs typeface="EnBW DIN Pro"/>
              </a:rPr>
              <a:t>A</a:t>
            </a:r>
            <a:r>
              <a:rPr lang="de-DE" sz="1000" spc="-10" dirty="0" err="1">
                <a:cs typeface="EnBW DIN Pro"/>
              </a:rPr>
              <a:t>d</a:t>
            </a:r>
            <a:r>
              <a:rPr lang="de-DE" sz="1000" spc="5" dirty="0" err="1">
                <a:cs typeface="EnBW DIN Pro"/>
              </a:rPr>
              <a:t>j</a:t>
            </a:r>
            <a:r>
              <a:rPr lang="de-DE" sz="1000" spc="-5" dirty="0" err="1">
                <a:cs typeface="EnBW DIN Pro"/>
              </a:rPr>
              <a:t>u</a:t>
            </a:r>
            <a:r>
              <a:rPr lang="de-DE" sz="1000" spc="-20" dirty="0" err="1">
                <a:cs typeface="EnBW DIN Pro"/>
              </a:rPr>
              <a:t>s</a:t>
            </a:r>
            <a:r>
              <a:rPr lang="de-DE" sz="1000" spc="5" dirty="0" err="1">
                <a:cs typeface="EnBW DIN Pro"/>
              </a:rPr>
              <a:t>t</a:t>
            </a:r>
            <a:r>
              <a:rPr lang="de-DE" sz="1000" spc="10" dirty="0" err="1">
                <a:cs typeface="EnBW DIN Pro"/>
              </a:rPr>
              <a:t>e</a:t>
            </a:r>
            <a:r>
              <a:rPr lang="de-DE" sz="1000" dirty="0" err="1">
                <a:cs typeface="EnBW DIN Pro"/>
              </a:rPr>
              <a:t>d</a:t>
            </a:r>
            <a:r>
              <a:rPr lang="de-DE" sz="1000" spc="-20" dirty="0">
                <a:cs typeface="EnBW DIN Pro"/>
              </a:rPr>
              <a:t> </a:t>
            </a:r>
            <a:r>
              <a:rPr lang="de-DE" sz="1000" dirty="0">
                <a:cs typeface="EnBW DIN Pro"/>
              </a:rPr>
              <a:t>E</a:t>
            </a:r>
            <a:r>
              <a:rPr lang="de-DE" sz="1000" spc="-10" dirty="0">
                <a:cs typeface="EnBW DIN Pro"/>
              </a:rPr>
              <a:t>B</a:t>
            </a:r>
            <a:r>
              <a:rPr lang="de-DE" sz="1000" spc="-5" dirty="0">
                <a:cs typeface="EnBW DIN Pro"/>
              </a:rPr>
              <a:t>I</a:t>
            </a:r>
            <a:r>
              <a:rPr lang="de-DE" sz="1000" spc="-10" dirty="0">
                <a:cs typeface="EnBW DIN Pro"/>
              </a:rPr>
              <a:t>T</a:t>
            </a:r>
            <a:r>
              <a:rPr lang="de-DE" sz="1000" spc="-20" dirty="0">
                <a:cs typeface="EnBW DIN Pro"/>
              </a:rPr>
              <a:t>D</a:t>
            </a:r>
            <a:r>
              <a:rPr lang="de-DE" sz="1000" dirty="0">
                <a:cs typeface="EnBW DIN Pro"/>
              </a:rPr>
              <a:t>A</a:t>
            </a:r>
            <a:endParaRPr lang="de-DE" sz="1000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975C0401-5843-4FAC-9F78-D360E0B70CE6}"/>
              </a:ext>
            </a:extLst>
          </p:cNvPr>
          <p:cNvCxnSpPr>
            <a:cxnSpLocks/>
          </p:cNvCxnSpPr>
          <p:nvPr/>
        </p:nvCxnSpPr>
        <p:spPr>
          <a:xfrm>
            <a:off x="407988" y="5913276"/>
            <a:ext cx="1137602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343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2ECA46A-43B7-47C9-B70D-6FD0FA740CC0}"/>
              </a:ext>
            </a:extLst>
          </p:cNvPr>
          <p:cNvCxnSpPr>
            <a:cxnSpLocks/>
          </p:cNvCxnSpPr>
          <p:nvPr/>
        </p:nvCxnSpPr>
        <p:spPr>
          <a:xfrm flipV="1">
            <a:off x="5231904" y="4509120"/>
            <a:ext cx="1656184" cy="252028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11A06AFB-BC8E-4F49-B5D8-70E5B275AC00}"/>
              </a:ext>
            </a:extLst>
          </p:cNvPr>
          <p:cNvCxnSpPr>
            <a:cxnSpLocks/>
          </p:cNvCxnSpPr>
          <p:nvPr/>
        </p:nvCxnSpPr>
        <p:spPr>
          <a:xfrm flipV="1">
            <a:off x="5232400" y="5549900"/>
            <a:ext cx="1619250" cy="1905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4">
            <a:extLst>
              <a:ext uri="{FF2B5EF4-FFF2-40B4-BE49-F238E27FC236}">
                <a16:creationId xmlns:a16="http://schemas.microsoft.com/office/drawing/2014/main" id="{54F8C7E0-F086-4BB0-BEE8-0E8C995F7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 lorem</a:t>
            </a:r>
            <a:br>
              <a:rPr lang="en-US" dirty="0"/>
            </a:br>
            <a:r>
              <a:rPr lang="en-US" dirty="0"/>
              <a:t>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69" name="object 6">
            <a:extLst>
              <a:ext uri="{FF2B5EF4-FFF2-40B4-BE49-F238E27FC236}">
                <a16:creationId xmlns:a16="http://schemas.microsoft.com/office/drawing/2014/main" id="{5830EAB9-539F-4B78-B76B-928A97ED8844}"/>
              </a:ext>
            </a:extLst>
          </p:cNvPr>
          <p:cNvSpPr txBox="1"/>
          <p:nvPr/>
        </p:nvSpPr>
        <p:spPr>
          <a:xfrm>
            <a:off x="6383338" y="5913276"/>
            <a:ext cx="1656878" cy="360524"/>
          </a:xfrm>
          <a:prstGeom prst="rect">
            <a:avLst/>
          </a:prstGeom>
          <a:noFill/>
        </p:spPr>
        <p:txBody>
          <a:bodyPr vert="horz" wrap="square" lIns="0" tIns="11430" rIns="0" bIns="0" rtlCol="0" anchor="ctr" anchorCtr="0">
            <a:no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defRPr sz="2400" b="1" spc="-10">
                <a:cs typeface="EnBW DIN Pro"/>
              </a:defRPr>
            </a:lvl1pPr>
          </a:lstStyle>
          <a:p>
            <a:r>
              <a:rPr dirty="0">
                <a:latin typeface="+mj-lt"/>
              </a:rPr>
              <a:t>3,2 Mrd. €</a:t>
            </a:r>
          </a:p>
        </p:txBody>
      </p:sp>
      <p:sp>
        <p:nvSpPr>
          <p:cNvPr id="70" name="object 7">
            <a:extLst>
              <a:ext uri="{FF2B5EF4-FFF2-40B4-BE49-F238E27FC236}">
                <a16:creationId xmlns:a16="http://schemas.microsoft.com/office/drawing/2014/main" id="{6F0DA418-FFDD-4F88-89B6-15C557302915}"/>
              </a:ext>
            </a:extLst>
          </p:cNvPr>
          <p:cNvSpPr txBox="1"/>
          <p:nvPr/>
        </p:nvSpPr>
        <p:spPr>
          <a:xfrm>
            <a:off x="4048639" y="5913276"/>
            <a:ext cx="1757018" cy="360524"/>
          </a:xfrm>
          <a:prstGeom prst="rect">
            <a:avLst/>
          </a:prstGeom>
          <a:noFill/>
        </p:spPr>
        <p:txBody>
          <a:bodyPr vert="horz" wrap="square" lIns="0" tIns="11430" rIns="0" bIns="0" rtlCol="0" anchor="ctr" anchorCtr="0">
            <a:no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defRPr sz="2400" b="1" spc="-10">
                <a:cs typeface="EnBW DIN Pro"/>
              </a:defRPr>
            </a:lvl1pPr>
          </a:lstStyle>
          <a:p>
            <a:r>
              <a:rPr dirty="0">
                <a:latin typeface="+mj-lt"/>
              </a:rPr>
              <a:t>2,8 Mrd. €</a:t>
            </a:r>
          </a:p>
        </p:txBody>
      </p:sp>
      <p:sp>
        <p:nvSpPr>
          <p:cNvPr id="71" name="object 8">
            <a:extLst>
              <a:ext uri="{FF2B5EF4-FFF2-40B4-BE49-F238E27FC236}">
                <a16:creationId xmlns:a16="http://schemas.microsoft.com/office/drawing/2014/main" id="{08E17ED8-217C-48F1-B1BE-6885E8A7A842}"/>
              </a:ext>
            </a:extLst>
          </p:cNvPr>
          <p:cNvSpPr txBox="1"/>
          <p:nvPr/>
        </p:nvSpPr>
        <p:spPr>
          <a:xfrm>
            <a:off x="289366" y="5229200"/>
            <a:ext cx="1474763" cy="689932"/>
          </a:xfrm>
          <a:prstGeom prst="rect">
            <a:avLst/>
          </a:prstGeom>
        </p:spPr>
        <p:txBody>
          <a:bodyPr vert="horz" wrap="none" lIns="0" tIns="12700" rIns="0" bIns="0" rtlCol="0">
            <a:spAutoFit/>
          </a:bodyPr>
          <a:lstStyle>
            <a:defPPr>
              <a:defRPr lang="de-DE"/>
            </a:defPPr>
            <a:lvl1pPr marL="12700" algn="ctr">
              <a:spcBef>
                <a:spcPts val="100"/>
              </a:spcBef>
              <a:defRPr sz="2000" b="1">
                <a:cs typeface="EnBW DIN Pro Medium"/>
              </a:defRPr>
            </a:lvl1pPr>
          </a:lstStyle>
          <a:p>
            <a:r>
              <a:rPr sz="4400" dirty="0">
                <a:latin typeface="+mj-lt"/>
              </a:rPr>
              <a:t>2020</a:t>
            </a:r>
          </a:p>
        </p:txBody>
      </p:sp>
      <p:sp>
        <p:nvSpPr>
          <p:cNvPr id="74" name="object 9">
            <a:extLst>
              <a:ext uri="{FF2B5EF4-FFF2-40B4-BE49-F238E27FC236}">
                <a16:creationId xmlns:a16="http://schemas.microsoft.com/office/drawing/2014/main" id="{0B74C6B8-FBA3-425B-846B-77079A6EC5B4}"/>
              </a:ext>
            </a:extLst>
          </p:cNvPr>
          <p:cNvSpPr txBox="1"/>
          <p:nvPr/>
        </p:nvSpPr>
        <p:spPr>
          <a:xfrm>
            <a:off x="10463940" y="5229200"/>
            <a:ext cx="1402628" cy="689932"/>
          </a:xfrm>
          <a:prstGeom prst="rect">
            <a:avLst/>
          </a:prstGeom>
        </p:spPr>
        <p:txBody>
          <a:bodyPr vert="horz" wrap="none" lIns="0" tIns="12700" rIns="0" bIns="0" rtlCol="0">
            <a:spAutoFit/>
          </a:bodyPr>
          <a:lstStyle/>
          <a:p>
            <a:pPr marL="12700" algn="ctr">
              <a:spcBef>
                <a:spcPts val="100"/>
              </a:spcBef>
            </a:pPr>
            <a:r>
              <a:rPr sz="4400" b="1" dirty="0">
                <a:latin typeface="+mj-lt"/>
                <a:cs typeface="EnBW DIN Pro Medium"/>
              </a:rPr>
              <a:t>2025</a:t>
            </a:r>
          </a:p>
        </p:txBody>
      </p:sp>
      <p:sp>
        <p:nvSpPr>
          <p:cNvPr id="75" name="object 10">
            <a:extLst>
              <a:ext uri="{FF2B5EF4-FFF2-40B4-BE49-F238E27FC236}">
                <a16:creationId xmlns:a16="http://schemas.microsoft.com/office/drawing/2014/main" id="{184DAECB-88D2-4F72-99D7-5F0461F45581}"/>
              </a:ext>
            </a:extLst>
          </p:cNvPr>
          <p:cNvSpPr txBox="1"/>
          <p:nvPr/>
        </p:nvSpPr>
        <p:spPr>
          <a:xfrm>
            <a:off x="2135560" y="3133344"/>
            <a:ext cx="2350135" cy="256480"/>
          </a:xfrm>
          <a:prstGeom prst="rect">
            <a:avLst/>
          </a:prstGeom>
          <a:noFill/>
        </p:spPr>
        <p:txBody>
          <a:bodyPr vert="horz" wrap="square" lIns="0" tIns="10160" rIns="0" bIns="0" rtlCol="0" anchor="ctr" anchorCtr="0">
            <a:spAutoFit/>
          </a:bodyPr>
          <a:lstStyle/>
          <a:p>
            <a:pPr marL="107950" algn="r">
              <a:spcBef>
                <a:spcPts val="80"/>
              </a:spcBef>
            </a:pPr>
            <a:r>
              <a:rPr sz="1600" b="0" dirty="0">
                <a:cs typeface="EnBW DIN Pro Medium"/>
              </a:rPr>
              <a:t>Vertriebe</a:t>
            </a:r>
            <a:endParaRPr sz="1600" dirty="0">
              <a:cs typeface="EnBW DIN Pro Medium"/>
            </a:endParaRPr>
          </a:p>
        </p:txBody>
      </p:sp>
      <p:sp>
        <p:nvSpPr>
          <p:cNvPr id="77" name="object 13">
            <a:extLst>
              <a:ext uri="{FF2B5EF4-FFF2-40B4-BE49-F238E27FC236}">
                <a16:creationId xmlns:a16="http://schemas.microsoft.com/office/drawing/2014/main" id="{7ABE0AF9-4B1F-4D79-9FD6-FE6EB483C562}"/>
              </a:ext>
            </a:extLst>
          </p:cNvPr>
          <p:cNvSpPr txBox="1"/>
          <p:nvPr/>
        </p:nvSpPr>
        <p:spPr>
          <a:xfrm>
            <a:off x="2135560" y="3593591"/>
            <a:ext cx="2353310" cy="255839"/>
          </a:xfrm>
          <a:prstGeom prst="rect">
            <a:avLst/>
          </a:prstGeom>
          <a:noFill/>
        </p:spPr>
        <p:txBody>
          <a:bodyPr vert="horz" wrap="square" lIns="0" tIns="9525" rIns="0" bIns="0" rtlCol="0" anchor="ctr" anchorCtr="0">
            <a:spAutoFit/>
          </a:bodyPr>
          <a:lstStyle/>
          <a:p>
            <a:pPr marL="107950" algn="r">
              <a:spcBef>
                <a:spcPts val="75"/>
              </a:spcBef>
            </a:pPr>
            <a:r>
              <a:rPr sz="1600" b="0" dirty="0">
                <a:cs typeface="EnBW DIN Pro Medium"/>
              </a:rPr>
              <a:t>Netze</a:t>
            </a:r>
            <a:endParaRPr sz="1600" dirty="0">
              <a:cs typeface="EnBW DIN Pro Medium"/>
            </a:endParaRPr>
          </a:p>
        </p:txBody>
      </p:sp>
      <p:sp>
        <p:nvSpPr>
          <p:cNvPr id="78" name="object 14">
            <a:extLst>
              <a:ext uri="{FF2B5EF4-FFF2-40B4-BE49-F238E27FC236}">
                <a16:creationId xmlns:a16="http://schemas.microsoft.com/office/drawing/2014/main" id="{3ABC0C4A-281B-4C37-870F-CA6736284726}"/>
              </a:ext>
            </a:extLst>
          </p:cNvPr>
          <p:cNvSpPr txBox="1"/>
          <p:nvPr/>
        </p:nvSpPr>
        <p:spPr>
          <a:xfrm>
            <a:off x="2135560" y="5562600"/>
            <a:ext cx="2353310" cy="256480"/>
          </a:xfrm>
          <a:prstGeom prst="rect">
            <a:avLst/>
          </a:prstGeom>
          <a:noFill/>
        </p:spPr>
        <p:txBody>
          <a:bodyPr vert="horz" wrap="square" lIns="0" tIns="10160" rIns="0" bIns="0" rtlCol="0" anchor="ctr" anchorCtr="0">
            <a:spAutoFit/>
          </a:bodyPr>
          <a:lstStyle/>
          <a:p>
            <a:pPr marL="107950" algn="r">
              <a:spcBef>
                <a:spcPts val="80"/>
              </a:spcBef>
            </a:pPr>
            <a:r>
              <a:rPr sz="1600" b="0" dirty="0">
                <a:cs typeface="EnBW DIN Pro Medium"/>
              </a:rPr>
              <a:t>Erzeugung &amp; Handel</a:t>
            </a:r>
            <a:endParaRPr sz="1600" dirty="0">
              <a:cs typeface="EnBW DIN Pro Medium"/>
            </a:endParaRPr>
          </a:p>
        </p:txBody>
      </p:sp>
      <p:sp>
        <p:nvSpPr>
          <p:cNvPr id="79" name="object 15">
            <a:extLst>
              <a:ext uri="{FF2B5EF4-FFF2-40B4-BE49-F238E27FC236}">
                <a16:creationId xmlns:a16="http://schemas.microsoft.com/office/drawing/2014/main" id="{9A781391-8E20-4509-B6C2-BC821977D606}"/>
              </a:ext>
            </a:extLst>
          </p:cNvPr>
          <p:cNvSpPr txBox="1"/>
          <p:nvPr/>
        </p:nvSpPr>
        <p:spPr>
          <a:xfrm>
            <a:off x="2135560" y="4751832"/>
            <a:ext cx="2356485" cy="255198"/>
          </a:xfrm>
          <a:prstGeom prst="rect">
            <a:avLst/>
          </a:prstGeom>
          <a:noFill/>
        </p:spPr>
        <p:txBody>
          <a:bodyPr vert="horz" wrap="square" lIns="0" tIns="8890" rIns="0" bIns="0" rtlCol="0" anchor="ctr" anchorCtr="0">
            <a:spAutoFit/>
          </a:bodyPr>
          <a:lstStyle/>
          <a:p>
            <a:pPr marL="107950" algn="r">
              <a:spcBef>
                <a:spcPts val="70"/>
              </a:spcBef>
            </a:pPr>
            <a:r>
              <a:rPr sz="1600" b="0" dirty="0">
                <a:cs typeface="EnBW DIN Pro Medium"/>
              </a:rPr>
              <a:t>Erneuerbare Energien</a:t>
            </a:r>
            <a:endParaRPr sz="1600" dirty="0">
              <a:cs typeface="EnBW DIN Pro Medium"/>
            </a:endParaRPr>
          </a:p>
        </p:txBody>
      </p:sp>
      <p:sp>
        <p:nvSpPr>
          <p:cNvPr id="85" name="object 21">
            <a:extLst>
              <a:ext uri="{FF2B5EF4-FFF2-40B4-BE49-F238E27FC236}">
                <a16:creationId xmlns:a16="http://schemas.microsoft.com/office/drawing/2014/main" id="{2DFA3E32-7594-413E-9C9A-15F2A299740C}"/>
              </a:ext>
            </a:extLst>
          </p:cNvPr>
          <p:cNvSpPr/>
          <p:nvPr/>
        </p:nvSpPr>
        <p:spPr>
          <a:xfrm>
            <a:off x="4780788" y="5512302"/>
            <a:ext cx="1131570" cy="48895"/>
          </a:xfrm>
          <a:custGeom>
            <a:avLst/>
            <a:gdLst/>
            <a:ahLst/>
            <a:cxnLst/>
            <a:rect l="l" t="t" r="r" b="b"/>
            <a:pathLst>
              <a:path w="1131570" h="48895">
                <a:moveTo>
                  <a:pt x="0" y="48780"/>
                </a:moveTo>
                <a:lnTo>
                  <a:pt x="1131252" y="0"/>
                </a:lnTo>
              </a:path>
            </a:pathLst>
          </a:custGeom>
          <a:ln w="9525">
            <a:solidFill>
              <a:srgbClr val="FFFFFF"/>
            </a:solidFill>
            <a:prstDash val="sysDash"/>
          </a:ln>
        </p:spPr>
        <p:txBody>
          <a:bodyPr wrap="square" lIns="0" tIns="0" rIns="0" bIns="0" rtlCol="0"/>
          <a:lstStyle/>
          <a:p>
            <a:endParaRPr>
              <a:solidFill>
                <a:schemeClr val="tx2"/>
              </a:solidFill>
            </a:endParaRPr>
          </a:p>
        </p:txBody>
      </p:sp>
      <p:sp>
        <p:nvSpPr>
          <p:cNvPr id="86" name="object 22">
            <a:extLst>
              <a:ext uri="{FF2B5EF4-FFF2-40B4-BE49-F238E27FC236}">
                <a16:creationId xmlns:a16="http://schemas.microsoft.com/office/drawing/2014/main" id="{5F576C7E-65B2-49E3-BF66-84970D9C4E4B}"/>
              </a:ext>
            </a:extLst>
          </p:cNvPr>
          <p:cNvSpPr/>
          <p:nvPr/>
        </p:nvSpPr>
        <p:spPr>
          <a:xfrm>
            <a:off x="4349680" y="5916834"/>
            <a:ext cx="2981960" cy="5080"/>
          </a:xfrm>
          <a:custGeom>
            <a:avLst/>
            <a:gdLst/>
            <a:ahLst/>
            <a:cxnLst/>
            <a:rect l="l" t="t" r="r" b="b"/>
            <a:pathLst>
              <a:path w="2981959" h="5079">
                <a:moveTo>
                  <a:pt x="0" y="0"/>
                </a:moveTo>
                <a:lnTo>
                  <a:pt x="2981845" y="0"/>
                </a:lnTo>
              </a:path>
              <a:path w="2981959" h="5079">
                <a:moveTo>
                  <a:pt x="0" y="4762"/>
                </a:moveTo>
                <a:lnTo>
                  <a:pt x="2981845" y="4762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2"/>
              </a:solidFill>
            </a:endParaRPr>
          </a:p>
        </p:txBody>
      </p:sp>
      <p:sp>
        <p:nvSpPr>
          <p:cNvPr id="91" name="object 26">
            <a:extLst>
              <a:ext uri="{FF2B5EF4-FFF2-40B4-BE49-F238E27FC236}">
                <a16:creationId xmlns:a16="http://schemas.microsoft.com/office/drawing/2014/main" id="{48EF27DB-47B0-41F6-93AA-801C395B1E5C}"/>
              </a:ext>
            </a:extLst>
          </p:cNvPr>
          <p:cNvSpPr txBox="1"/>
          <p:nvPr/>
        </p:nvSpPr>
        <p:spPr>
          <a:xfrm>
            <a:off x="7750800" y="4450073"/>
            <a:ext cx="2656689" cy="864000"/>
          </a:xfrm>
          <a:prstGeom prst="rect">
            <a:avLst/>
          </a:prstGeom>
        </p:spPr>
        <p:txBody>
          <a:bodyPr vert="horz" wrap="none" lIns="0" tIns="35560" rIns="0" bIns="0" rtlCol="0" anchor="ctr" anchorCtr="0">
            <a:noAutofit/>
          </a:bodyPr>
          <a:lstStyle/>
          <a:p>
            <a:pPr marL="12700" marR="5080">
              <a:spcBef>
                <a:spcPts val="280"/>
              </a:spcBef>
            </a:pPr>
            <a:r>
              <a:rPr dirty="0" err="1">
                <a:cs typeface="EnBW DIN Pro Medium"/>
              </a:rPr>
              <a:t>Nachhaltige</a:t>
            </a:r>
            <a:r>
              <a:rPr dirty="0">
                <a:cs typeface="EnBW DIN Pro Medium"/>
              </a:rPr>
              <a:t> </a:t>
            </a:r>
            <a:r>
              <a:rPr lang="de-DE" dirty="0">
                <a:cs typeface="EnBW DIN Pro Medium"/>
              </a:rPr>
              <a:t>E</a:t>
            </a:r>
            <a:r>
              <a:rPr dirty="0" err="1">
                <a:cs typeface="EnBW DIN Pro Medium"/>
              </a:rPr>
              <a:t>rzeugungs</a:t>
            </a:r>
            <a:r>
              <a:rPr lang="de-DE" dirty="0">
                <a:cs typeface="EnBW DIN Pro Medium"/>
              </a:rPr>
              <a:t>-</a:t>
            </a:r>
            <a:br>
              <a:rPr lang="de-DE" dirty="0">
                <a:cs typeface="EnBW DIN Pro Medium"/>
              </a:rPr>
            </a:br>
            <a:r>
              <a:rPr dirty="0" err="1">
                <a:cs typeface="EnBW DIN Pro Medium"/>
              </a:rPr>
              <a:t>infrastruktur</a:t>
            </a:r>
            <a:endParaRPr dirty="0">
              <a:cs typeface="EnBW DIN Pro Medium"/>
            </a:endParaRPr>
          </a:p>
        </p:txBody>
      </p:sp>
      <p:sp>
        <p:nvSpPr>
          <p:cNvPr id="92" name="object 27">
            <a:extLst>
              <a:ext uri="{FF2B5EF4-FFF2-40B4-BE49-F238E27FC236}">
                <a16:creationId xmlns:a16="http://schemas.microsoft.com/office/drawing/2014/main" id="{9504240F-CECE-4D7B-B0E9-DAD99672B77D}"/>
              </a:ext>
            </a:extLst>
          </p:cNvPr>
          <p:cNvSpPr txBox="1"/>
          <p:nvPr/>
        </p:nvSpPr>
        <p:spPr>
          <a:xfrm>
            <a:off x="7750800" y="2348880"/>
            <a:ext cx="2736134" cy="864000"/>
          </a:xfrm>
          <a:prstGeom prst="rect">
            <a:avLst/>
          </a:prstGeom>
        </p:spPr>
        <p:txBody>
          <a:bodyPr vert="horz" wrap="none" lIns="0" tIns="35560" rIns="0" bIns="0" rtlCol="0" anchor="ctr" anchorCtr="0">
            <a:noAutofit/>
          </a:bodyPr>
          <a:lstStyle/>
          <a:p>
            <a:pPr marL="12700" marR="5080">
              <a:spcBef>
                <a:spcPts val="280"/>
              </a:spcBef>
            </a:pPr>
            <a:r>
              <a:rPr dirty="0">
                <a:cs typeface="EnBW DIN Pro Medium"/>
              </a:rPr>
              <a:t>Intelligente </a:t>
            </a:r>
            <a:r>
              <a:rPr dirty="0" err="1">
                <a:cs typeface="EnBW DIN Pro Medium"/>
              </a:rPr>
              <a:t>Infrastruktur</a:t>
            </a:r>
            <a:r>
              <a:rPr dirty="0">
                <a:cs typeface="EnBW DIN Pro Medium"/>
              </a:rPr>
              <a:t> </a:t>
            </a:r>
            <a:br>
              <a:rPr lang="de-DE" dirty="0">
                <a:cs typeface="EnBW DIN Pro Medium"/>
              </a:rPr>
            </a:br>
            <a:r>
              <a:rPr dirty="0" err="1">
                <a:cs typeface="EnBW DIN Pro Medium"/>
              </a:rPr>
              <a:t>für</a:t>
            </a:r>
            <a:r>
              <a:rPr dirty="0">
                <a:cs typeface="EnBW DIN Pro Medium"/>
              </a:rPr>
              <a:t> Kund*innen</a:t>
            </a:r>
          </a:p>
        </p:txBody>
      </p:sp>
      <p:graphicFrame>
        <p:nvGraphicFramePr>
          <p:cNvPr id="93" name="object 28">
            <a:extLst>
              <a:ext uri="{FF2B5EF4-FFF2-40B4-BE49-F238E27FC236}">
                <a16:creationId xmlns:a16="http://schemas.microsoft.com/office/drawing/2014/main" id="{E4475DB1-D628-4A70-9763-A2BE662DF3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495103"/>
              </p:ext>
            </p:extLst>
          </p:nvPr>
        </p:nvGraphicFramePr>
        <p:xfrm>
          <a:off x="4613141" y="3134867"/>
          <a:ext cx="628015" cy="27813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280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164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D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5633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195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1026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8F1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306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4" name="object 29">
            <a:extLst>
              <a:ext uri="{FF2B5EF4-FFF2-40B4-BE49-F238E27FC236}">
                <a16:creationId xmlns:a16="http://schemas.microsoft.com/office/drawing/2014/main" id="{1B7798A4-DBB4-4205-A9D5-C021A4B69FF7}"/>
              </a:ext>
            </a:extLst>
          </p:cNvPr>
          <p:cNvSpPr txBox="1"/>
          <p:nvPr/>
        </p:nvSpPr>
        <p:spPr>
          <a:xfrm>
            <a:off x="7750800" y="3399476"/>
            <a:ext cx="1717778" cy="864000"/>
          </a:xfrm>
          <a:prstGeom prst="rect">
            <a:avLst/>
          </a:prstGeom>
        </p:spPr>
        <p:txBody>
          <a:bodyPr vert="horz" wrap="none" lIns="0" tIns="35560" rIns="0" bIns="0" rtlCol="0" anchor="ctr" anchorCtr="0">
            <a:noAutofit/>
          </a:bodyPr>
          <a:lstStyle/>
          <a:p>
            <a:pPr marL="12700" marR="5080">
              <a:spcBef>
                <a:spcPts val="280"/>
              </a:spcBef>
            </a:pPr>
            <a:r>
              <a:rPr dirty="0" err="1">
                <a:cs typeface="EnBW DIN Pro Medium"/>
              </a:rPr>
              <a:t>Systemkritische</a:t>
            </a:r>
            <a:br>
              <a:rPr lang="de-DE" dirty="0">
                <a:cs typeface="EnBW DIN Pro Medium"/>
              </a:rPr>
            </a:br>
            <a:r>
              <a:rPr dirty="0" err="1">
                <a:cs typeface="EnBW DIN Pro Medium"/>
              </a:rPr>
              <a:t>Infrastruktur</a:t>
            </a:r>
            <a:r>
              <a:rPr lang="de-DE" dirty="0">
                <a:cs typeface="EnBW DIN Pro Medium"/>
              </a:rPr>
              <a:t>21,5</a:t>
            </a:r>
            <a:endParaRPr dirty="0">
              <a:cs typeface="EnBW DIN Pro Medium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58320B4-E977-47AE-BCDA-ECEA868AA0D5}"/>
              </a:ext>
            </a:extLst>
          </p:cNvPr>
          <p:cNvSpPr/>
          <p:nvPr/>
        </p:nvSpPr>
        <p:spPr>
          <a:xfrm>
            <a:off x="6888088" y="4509120"/>
            <a:ext cx="648072" cy="1404156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lnSpc>
                <a:spcPct val="100000"/>
              </a:lnSpc>
            </a:pPr>
            <a:r>
              <a:rPr lang="de-DE" b="1" dirty="0">
                <a:solidFill>
                  <a:srgbClr val="FFFFFF"/>
                </a:solidFill>
                <a:cs typeface="EnBW DIN Pro"/>
              </a:rPr>
              <a:t>1,3</a:t>
            </a:r>
            <a:endParaRPr lang="de-DE" dirty="0">
              <a:cs typeface="EnBW DIN Pro"/>
            </a:endParaRPr>
          </a:p>
          <a:p>
            <a:pPr algn="ctr">
              <a:lnSpc>
                <a:spcPct val="100000"/>
              </a:lnSpc>
            </a:pPr>
            <a:r>
              <a:rPr lang="de-DE" sz="1200" dirty="0">
                <a:solidFill>
                  <a:srgbClr val="FFFFFF"/>
                </a:solidFill>
                <a:cs typeface="EnBW DIN Pro"/>
              </a:rPr>
              <a:t>Mrd.</a:t>
            </a:r>
            <a:r>
              <a:rPr lang="de-DE" sz="1200" spc="-45" dirty="0">
                <a:solidFill>
                  <a:srgbClr val="FFFFFF"/>
                </a:solidFill>
                <a:cs typeface="EnBW DIN Pro"/>
              </a:rPr>
              <a:t> </a:t>
            </a:r>
            <a:r>
              <a:rPr lang="de-DE" sz="1200" dirty="0">
                <a:solidFill>
                  <a:srgbClr val="FFFFFF"/>
                </a:solidFill>
                <a:cs typeface="EnBW DIN Pro"/>
              </a:rPr>
              <a:t>€</a:t>
            </a:r>
            <a:endParaRPr lang="de-DE" sz="1200" dirty="0"/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4F1BAE53-E96D-45E2-BE69-19E59C4CA7F3}"/>
              </a:ext>
            </a:extLst>
          </p:cNvPr>
          <p:cNvSpPr/>
          <p:nvPr/>
        </p:nvSpPr>
        <p:spPr>
          <a:xfrm>
            <a:off x="6888088" y="3068960"/>
            <a:ext cx="648072" cy="1440160"/>
          </a:xfrm>
          <a:prstGeom prst="rect">
            <a:avLst/>
          </a:prstGeom>
          <a:solidFill>
            <a:srgbClr val="FE8F1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18288" algn="ctr" rtl="0" eaLnBrk="1" fontAlgn="t" latinLnBrk="0" hangingPunct="1">
              <a:spcBef>
                <a:spcPts val="885"/>
              </a:spcBef>
              <a:spcAft>
                <a:spcPts val="0"/>
              </a:spcAft>
            </a:pPr>
            <a:r>
              <a:rPr lang="de-DE" b="1" i="0" u="none" strike="noStrike" kern="1200" dirty="0">
                <a:solidFill>
                  <a:schemeClr val="tx1"/>
                </a:solidFill>
                <a:effectLst/>
                <a:cs typeface="EnBW DIN Pro" panose="020B0504020101020102" pitchFamily="34" charset="0"/>
              </a:rPr>
              <a:t>1,3</a:t>
            </a:r>
            <a:endParaRPr lang="de-DE" b="0" i="0" u="none" strike="noStrike" dirty="0">
              <a:solidFill>
                <a:schemeClr val="tx1"/>
              </a:solidFill>
              <a:effectLst/>
            </a:endParaRPr>
          </a:p>
          <a:p>
            <a:pPr marL="18288" algn="ctr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cs typeface="EnBW DIN Pro" panose="020B0504020101020102" pitchFamily="34" charset="0"/>
              </a:rPr>
              <a:t>Mrd.</a:t>
            </a:r>
            <a:r>
              <a:rPr lang="de-DE" sz="1200" b="0" i="0" u="none" strike="noStrike" kern="1200" spc="-45" dirty="0">
                <a:solidFill>
                  <a:schemeClr val="tx1"/>
                </a:solidFill>
                <a:effectLst/>
                <a:cs typeface="EnBW DIN Pro" panose="020B0504020101020102" pitchFamily="34" charset="0"/>
              </a:rPr>
              <a:t> 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cs typeface="EnBW DIN Pro" panose="020B0504020101020102" pitchFamily="34" charset="0"/>
              </a:rPr>
              <a:t>€</a:t>
            </a:r>
            <a:endParaRPr lang="de-DE" sz="1200" b="0" i="0" u="none" strike="noStrike" dirty="0">
              <a:solidFill>
                <a:schemeClr val="tx1"/>
              </a:solidFill>
              <a:effectLst/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7F715B28-F067-4DD7-92FA-2374A911553F}"/>
              </a:ext>
            </a:extLst>
          </p:cNvPr>
          <p:cNvSpPr/>
          <p:nvPr/>
        </p:nvSpPr>
        <p:spPr>
          <a:xfrm>
            <a:off x="6888088" y="2420888"/>
            <a:ext cx="648072" cy="648072"/>
          </a:xfrm>
          <a:prstGeom prst="rect">
            <a:avLst/>
          </a:prstGeom>
          <a:solidFill>
            <a:srgbClr val="1195EB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33020" algn="ctr">
              <a:lnSpc>
                <a:spcPct val="100000"/>
              </a:lnSpc>
              <a:spcBef>
                <a:spcPts val="1065"/>
              </a:spcBef>
            </a:pPr>
            <a:r>
              <a:rPr lang="de-DE" b="1" dirty="0">
                <a:solidFill>
                  <a:srgbClr val="FFFFFF"/>
                </a:solidFill>
                <a:cs typeface="EnBW DIN Pro"/>
              </a:rPr>
              <a:t>0,6</a:t>
            </a:r>
            <a:endParaRPr lang="de-DE" dirty="0">
              <a:cs typeface="EnBW DIN Pro"/>
            </a:endParaRPr>
          </a:p>
          <a:p>
            <a:pPr marL="33655" algn="ctr">
              <a:lnSpc>
                <a:spcPct val="100000"/>
              </a:lnSpc>
            </a:pPr>
            <a:r>
              <a:rPr lang="de-DE" sz="1200" dirty="0">
                <a:solidFill>
                  <a:srgbClr val="FFFFFF"/>
                </a:solidFill>
                <a:cs typeface="EnBW DIN Pro"/>
              </a:rPr>
              <a:t>Mrd.</a:t>
            </a:r>
            <a:r>
              <a:rPr lang="de-DE" sz="1200" spc="-45" dirty="0">
                <a:solidFill>
                  <a:srgbClr val="FFFFFF"/>
                </a:solidFill>
                <a:cs typeface="EnBW DIN Pro"/>
              </a:rPr>
              <a:t> </a:t>
            </a:r>
            <a:r>
              <a:rPr lang="de-DE" sz="1200" dirty="0">
                <a:solidFill>
                  <a:srgbClr val="FFFFFF"/>
                </a:solidFill>
                <a:cs typeface="EnBW DIN Pro"/>
              </a:rPr>
              <a:t>€</a:t>
            </a:r>
            <a:endParaRPr lang="de-DE" sz="1200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6D34322E-4577-4688-A758-E58A3A56E098}"/>
              </a:ext>
            </a:extLst>
          </p:cNvPr>
          <p:cNvCxnSpPr/>
          <p:nvPr/>
        </p:nvCxnSpPr>
        <p:spPr>
          <a:xfrm>
            <a:off x="6887394" y="5553236"/>
            <a:ext cx="648766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2FFBAD6B-1C4A-43E9-B2BF-10BA32F478D8}"/>
              </a:ext>
            </a:extLst>
          </p:cNvPr>
          <p:cNvCxnSpPr>
            <a:cxnSpLocks/>
          </p:cNvCxnSpPr>
          <p:nvPr/>
        </p:nvCxnSpPr>
        <p:spPr>
          <a:xfrm>
            <a:off x="407988" y="5913276"/>
            <a:ext cx="1137602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4748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71CA55-1DCB-4F5E-BDC8-5F151195D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agramm, Texte und Stör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40B273-A920-432E-8DA2-88F9AEEE7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ADA52B-3433-4B86-9060-C2DF5E3D48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8</a:t>
            </a:fld>
            <a:endParaRPr lang="de-DE" dirty="0"/>
          </a:p>
        </p:txBody>
      </p:sp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86E68D28-E532-43E0-A25E-5D86EEF0B3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3921272"/>
              </p:ext>
            </p:extLst>
          </p:nvPr>
        </p:nvGraphicFramePr>
        <p:xfrm>
          <a:off x="3395663" y="2312876"/>
          <a:ext cx="8388350" cy="2249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platzhalter 2">
            <a:extLst>
              <a:ext uri="{FF2B5EF4-FFF2-40B4-BE49-F238E27FC236}">
                <a16:creationId xmlns:a16="http://schemas.microsoft.com/office/drawing/2014/main" id="{A55FC8B5-4B2C-430D-B29A-E61E8C8EAF6C}"/>
              </a:ext>
            </a:extLst>
          </p:cNvPr>
          <p:cNvSpPr txBox="1">
            <a:spLocks/>
          </p:cNvSpPr>
          <p:nvPr/>
        </p:nvSpPr>
        <p:spPr>
          <a:xfrm>
            <a:off x="3395155" y="1844675"/>
            <a:ext cx="8388858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238C8963-122B-4989-9A8C-74F3B85B65D9}"/>
              </a:ext>
            </a:extLst>
          </p:cNvPr>
          <p:cNvSpPr txBox="1">
            <a:spLocks/>
          </p:cNvSpPr>
          <p:nvPr/>
        </p:nvSpPr>
        <p:spPr>
          <a:xfrm>
            <a:off x="442913" y="1933575"/>
            <a:ext cx="2375884" cy="2611548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108000" tIns="900000" rIns="108000" bIns="1080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Hier steht eine Kernaussage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sz="1600" dirty="0" err="1">
                <a:solidFill>
                  <a:schemeClr val="tx1"/>
                </a:solidFill>
                <a:latin typeface="+mn-lt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n-lt"/>
              </a:rPr>
              <a:t>ipsum</a:t>
            </a:r>
            <a:br>
              <a:rPr lang="de-DE" sz="1600" dirty="0">
                <a:solidFill>
                  <a:schemeClr val="tx1"/>
                </a:solidFill>
                <a:latin typeface="+mn-lt"/>
              </a:rPr>
            </a:br>
            <a:r>
              <a:rPr lang="de-DE" sz="1600" dirty="0" err="1">
                <a:solidFill>
                  <a:schemeClr val="tx1"/>
                </a:solidFill>
                <a:latin typeface="+mn-lt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n-lt"/>
              </a:rPr>
              <a:t>sit</a:t>
            </a:r>
            <a:r>
              <a:rPr lang="de-DE" sz="16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n-lt"/>
              </a:rPr>
              <a:t>amet</a:t>
            </a:r>
            <a:endParaRPr lang="de-DE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1DF3906A-E34D-4F3F-A9B0-6744247F30B3}"/>
              </a:ext>
            </a:extLst>
          </p:cNvPr>
          <p:cNvCxnSpPr>
            <a:cxnSpLocks/>
          </p:cNvCxnSpPr>
          <p:nvPr/>
        </p:nvCxnSpPr>
        <p:spPr>
          <a:xfrm flipH="1">
            <a:off x="406798" y="4725144"/>
            <a:ext cx="1137721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C848A23A-3B80-4A96-A252-F1E9FAB97AE2}"/>
              </a:ext>
            </a:extLst>
          </p:cNvPr>
          <p:cNvSpPr txBox="1">
            <a:spLocks/>
          </p:cNvSpPr>
          <p:nvPr/>
        </p:nvSpPr>
        <p:spPr>
          <a:xfrm>
            <a:off x="6383512" y="4904682"/>
            <a:ext cx="5401294" cy="13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8007A115-235C-4286-B688-44CD35C69D76}"/>
              </a:ext>
            </a:extLst>
          </p:cNvPr>
          <p:cNvSpPr txBox="1">
            <a:spLocks/>
          </p:cNvSpPr>
          <p:nvPr/>
        </p:nvSpPr>
        <p:spPr>
          <a:xfrm>
            <a:off x="407292" y="4904682"/>
            <a:ext cx="5401294" cy="13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18D1298-DC0F-488F-BAC5-CD4FAED00B54}"/>
              </a:ext>
            </a:extLst>
          </p:cNvPr>
          <p:cNvSpPr txBox="1"/>
          <p:nvPr/>
        </p:nvSpPr>
        <p:spPr>
          <a:xfrm>
            <a:off x="1235460" y="6273800"/>
            <a:ext cx="10548553" cy="179388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* Quelle</a:t>
            </a:r>
            <a:endParaRPr lang="de-DE" sz="10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E2D6A88-0B7C-4777-800F-29ACAEBD06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7988" y="1901527"/>
            <a:ext cx="879401" cy="879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368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AF4932-EF80-41FB-8011-6E2BE8A62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D8F6E5F-2104-4CE7-ACCC-21CA7DE5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ABA2081-9A79-4F67-BD9C-49D91CD7F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E130F3CA-313F-4A48-8AC4-EEBD558365FE}"/>
              </a:ext>
            </a:extLst>
          </p:cNvPr>
          <p:cNvSpPr txBox="1">
            <a:spLocks/>
          </p:cNvSpPr>
          <p:nvPr/>
        </p:nvSpPr>
        <p:spPr>
          <a:xfrm>
            <a:off x="4439815" y="4231008"/>
            <a:ext cx="7309273" cy="179028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108000" tIns="90000" rIns="108000" bIns="1080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Key messages</a:t>
            </a:r>
          </a:p>
          <a:p>
            <a:pPr lvl="2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</a:t>
            </a:r>
            <a:r>
              <a:rPr lang="en-US" dirty="0"/>
              <a:t> </a:t>
            </a:r>
            <a:r>
              <a:rPr lang="en-US" dirty="0" err="1"/>
              <a:t>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Aenean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r>
              <a:rPr lang="en-US" dirty="0"/>
              <a:t> et </a:t>
            </a:r>
            <a:r>
              <a:rPr lang="en-US" dirty="0" err="1"/>
              <a:t>magnis</a:t>
            </a:r>
            <a:r>
              <a:rPr lang="en-US" dirty="0"/>
              <a:t> dis parturient.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CA90AE09-AF09-4CFF-A755-91C7A74621D5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540067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  <a:p>
            <a:pPr lvl="1">
              <a:spcAft>
                <a:spcPts val="0"/>
              </a:spcAft>
            </a:pPr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endParaRPr lang="de-DE" sz="1400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3802A38-00D8-4AB5-A03A-6A4B1905A197}"/>
              </a:ext>
            </a:extLst>
          </p:cNvPr>
          <p:cNvSpPr txBox="1">
            <a:spLocks/>
          </p:cNvSpPr>
          <p:nvPr/>
        </p:nvSpPr>
        <p:spPr>
          <a:xfrm>
            <a:off x="407368" y="4329100"/>
            <a:ext cx="540067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endParaRPr lang="de-DE" sz="1400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AE06D933-B9B3-4437-968A-62AACBD20138}"/>
              </a:ext>
            </a:extLst>
          </p:cNvPr>
          <p:cNvSpPr txBox="1">
            <a:spLocks/>
          </p:cNvSpPr>
          <p:nvPr/>
        </p:nvSpPr>
        <p:spPr>
          <a:xfrm>
            <a:off x="6383957" y="1844675"/>
            <a:ext cx="540067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  <a:p>
            <a:pPr lvl="1">
              <a:spcAft>
                <a:spcPts val="0"/>
              </a:spcAft>
            </a:pPr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endParaRPr lang="de-DE" sz="1400" dirty="0"/>
          </a:p>
        </p:txBody>
      </p: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037E0A91-44F0-4CAF-B9CD-18FA42893D1E}"/>
              </a:ext>
            </a:extLst>
          </p:cNvPr>
          <p:cNvGraphicFramePr/>
          <p:nvPr/>
        </p:nvGraphicFramePr>
        <p:xfrm>
          <a:off x="407368" y="4820505"/>
          <a:ext cx="3703441" cy="1530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A6837B18-90BF-4B36-9057-5B501EC3A36A}"/>
              </a:ext>
            </a:extLst>
          </p:cNvPr>
          <p:cNvGraphicFramePr/>
          <p:nvPr/>
        </p:nvGraphicFramePr>
        <p:xfrm>
          <a:off x="6383339" y="2369916"/>
          <a:ext cx="3169044" cy="1541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FD69043B-2993-4601-BEB8-9D9598BBB340}"/>
              </a:ext>
            </a:extLst>
          </p:cNvPr>
          <p:cNvGraphicFramePr/>
          <p:nvPr/>
        </p:nvGraphicFramePr>
        <p:xfrm>
          <a:off x="407368" y="2369916"/>
          <a:ext cx="3703441" cy="1541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Tabelle 19">
            <a:extLst>
              <a:ext uri="{FF2B5EF4-FFF2-40B4-BE49-F238E27FC236}">
                <a16:creationId xmlns:a16="http://schemas.microsoft.com/office/drawing/2014/main" id="{DE8543FC-5DA0-4099-9528-0EF0A8D6DA4E}"/>
              </a:ext>
            </a:extLst>
          </p:cNvPr>
          <p:cNvGraphicFramePr>
            <a:graphicFrameLocks noGrp="1"/>
          </p:cNvGraphicFramePr>
          <p:nvPr/>
        </p:nvGraphicFramePr>
        <p:xfrm>
          <a:off x="9660395" y="2312986"/>
          <a:ext cx="2124239" cy="13170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92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4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8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4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34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16424">
                <a:tc>
                  <a:txBody>
                    <a:bodyPr/>
                    <a:lstStyle/>
                    <a:p>
                      <a:endParaRPr lang="de-DE" sz="1200" b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"/>
                        </a:lnSpc>
                      </a:pPr>
                      <a:endParaRPr lang="de-DE" sz="1200" b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2"/>
                          </a:solidFill>
                          <a:latin typeface="+mj-lt"/>
                        </a:rPr>
                        <a:t>2012</a:t>
                      </a: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2"/>
                          </a:solidFill>
                          <a:latin typeface="+mj-lt"/>
                        </a:rPr>
                        <a:t>2013</a:t>
                      </a: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424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Oth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"/>
                        </a:lnSpc>
                      </a:pP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0,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0,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424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Win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"/>
                        </a:lnSpc>
                      </a:pP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0,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0,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7797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Run-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of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-riv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"/>
                        </a:lnSpc>
                      </a:pP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5,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5,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2" name="Textfeld 16">
            <a:extLst>
              <a:ext uri="{FF2B5EF4-FFF2-40B4-BE49-F238E27FC236}">
                <a16:creationId xmlns:a16="http://schemas.microsoft.com/office/drawing/2014/main" id="{32C6B128-4174-4C3E-A62B-A5DFA418BAF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95097" y="2060848"/>
            <a:ext cx="350921" cy="25219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1pPr>
            <a:lvl2pPr marL="742950" indent="-28575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2pPr>
            <a:lvl3pPr marL="11430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3pPr>
            <a:lvl4pPr marL="16002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4pPr>
            <a:lvl5pPr marL="20574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de-DE" sz="1200" b="1" u="none" dirty="0">
                <a:solidFill>
                  <a:schemeClr val="bg2"/>
                </a:solidFill>
                <a:latin typeface="+mn-lt"/>
              </a:rPr>
              <a:t>+3%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AF9AA5CC-DD65-45E2-A62A-5E662D74C3A4}"/>
              </a:ext>
            </a:extLst>
          </p:cNvPr>
          <p:cNvCxnSpPr>
            <a:cxnSpLocks/>
          </p:cNvCxnSpPr>
          <p:nvPr/>
        </p:nvCxnSpPr>
        <p:spPr>
          <a:xfrm flipV="1">
            <a:off x="2871354" y="2282651"/>
            <a:ext cx="619559" cy="174241"/>
          </a:xfrm>
          <a:prstGeom prst="straightConnector1">
            <a:avLst/>
          </a:prstGeom>
          <a:ln w="28575">
            <a:solidFill>
              <a:schemeClr val="bg2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16">
            <a:extLst>
              <a:ext uri="{FF2B5EF4-FFF2-40B4-BE49-F238E27FC236}">
                <a16:creationId xmlns:a16="http://schemas.microsoft.com/office/drawing/2014/main" id="{7D9EC6EB-7CBB-450B-B831-D6C7FD41420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015387" y="4534525"/>
            <a:ext cx="350921" cy="25219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1pPr>
            <a:lvl2pPr marL="742950" indent="-28575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2pPr>
            <a:lvl3pPr marL="11430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3pPr>
            <a:lvl4pPr marL="16002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4pPr>
            <a:lvl5pPr marL="20574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de-DE" sz="1200" b="1" u="none" dirty="0">
                <a:solidFill>
                  <a:schemeClr val="bg2"/>
                </a:solidFill>
                <a:latin typeface="+mn-lt"/>
              </a:rPr>
              <a:t>-9%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7DCF039F-72C3-45C6-8C64-02E0780FECE4}"/>
              </a:ext>
            </a:extLst>
          </p:cNvPr>
          <p:cNvCxnSpPr>
            <a:cxnSpLocks/>
          </p:cNvCxnSpPr>
          <p:nvPr/>
        </p:nvCxnSpPr>
        <p:spPr>
          <a:xfrm>
            <a:off x="2891644" y="4730923"/>
            <a:ext cx="619559" cy="174241"/>
          </a:xfrm>
          <a:prstGeom prst="straightConnector1">
            <a:avLst/>
          </a:prstGeom>
          <a:ln w="28575">
            <a:solidFill>
              <a:schemeClr val="bg2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037EB784-7781-4442-A1AC-8DD715DBF67E}"/>
              </a:ext>
            </a:extLst>
          </p:cNvPr>
          <p:cNvSpPr/>
          <p:nvPr/>
        </p:nvSpPr>
        <p:spPr bwMode="gray">
          <a:xfrm>
            <a:off x="4259801" y="2690808"/>
            <a:ext cx="1548862" cy="223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lnSpc>
                <a:spcPts val="1400"/>
              </a:lnSpc>
              <a:defRPr/>
            </a:pPr>
            <a:r>
              <a:rPr lang="en-US" sz="1200" dirty="0">
                <a:solidFill>
                  <a:schemeClr val="tx1"/>
                </a:solidFill>
              </a:rPr>
              <a:t>Lorem ipsum</a:t>
            </a:r>
            <a:endParaRPr lang="de-DE" sz="1200" baseline="30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2841A2B-9EEB-4C9A-B804-1E95F2E3BD18}"/>
              </a:ext>
            </a:extLst>
          </p:cNvPr>
          <p:cNvSpPr/>
          <p:nvPr/>
        </p:nvSpPr>
        <p:spPr bwMode="gray">
          <a:xfrm>
            <a:off x="4259801" y="3147666"/>
            <a:ext cx="1548862" cy="223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lnSpc>
                <a:spcPts val="1400"/>
              </a:lnSpc>
              <a:defRPr/>
            </a:pPr>
            <a:r>
              <a:rPr lang="en-US" sz="1200" dirty="0">
                <a:solidFill>
                  <a:schemeClr val="tx1"/>
                </a:solidFill>
              </a:rPr>
              <a:t>Lorem ipsum</a:t>
            </a:r>
            <a:endParaRPr lang="de-DE" sz="1200" baseline="30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:a16="http://schemas.microsoft.com/office/drawing/2014/main" id="{A85CD4C2-A422-4510-9447-FF7CC01FEE3D}"/>
              </a:ext>
            </a:extLst>
          </p:cNvPr>
          <p:cNvSpPr>
            <a:spLocks/>
          </p:cNvSpPr>
          <p:nvPr/>
        </p:nvSpPr>
        <p:spPr bwMode="auto">
          <a:xfrm flipH="1">
            <a:off x="3943504" y="2684110"/>
            <a:ext cx="167305" cy="236526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AAE97A12-053B-4672-AED7-AFDBC8A4B64A}"/>
              </a:ext>
            </a:extLst>
          </p:cNvPr>
          <p:cNvSpPr>
            <a:spLocks/>
          </p:cNvSpPr>
          <p:nvPr/>
        </p:nvSpPr>
        <p:spPr bwMode="auto">
          <a:xfrm flipH="1">
            <a:off x="3943504" y="3140968"/>
            <a:ext cx="167305" cy="236526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603F88E-64B3-48D5-95EC-9A38DD8008F9}"/>
              </a:ext>
            </a:extLst>
          </p:cNvPr>
          <p:cNvCxnSpPr>
            <a:cxnSpLocks/>
          </p:cNvCxnSpPr>
          <p:nvPr/>
        </p:nvCxnSpPr>
        <p:spPr>
          <a:xfrm>
            <a:off x="407368" y="3630055"/>
            <a:ext cx="1137664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23AC71BF-C101-48BA-BCD6-D97F2758E887}"/>
              </a:ext>
            </a:extLst>
          </p:cNvPr>
          <p:cNvSpPr txBox="1"/>
          <p:nvPr/>
        </p:nvSpPr>
        <p:spPr>
          <a:xfrm>
            <a:off x="1235460" y="6273800"/>
            <a:ext cx="10548553" cy="179388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* Quelle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2353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6" name="Bildplatzhalter 5" descr="Ein Bild, das draußen, Himmel, Person, Schwimmen enthält.&#10;&#10;Automatisch generierte Beschreibung">
            <a:extLst>
              <a:ext uri="{FF2B5EF4-FFF2-40B4-BE49-F238E27FC236}">
                <a16:creationId xmlns:a16="http://schemas.microsoft.com/office/drawing/2014/main" id="{2A06BEAD-84D3-9F0D-1ACF-6563DD0FA1E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277709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0256D4D-5D54-4D84-8E46-BA8352A3F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xtfolie mit Prozess aus</a:t>
            </a:r>
            <a:br>
              <a:rPr lang="de-DE" dirty="0"/>
            </a:br>
            <a:r>
              <a:rPr lang="de-DE" dirty="0"/>
              <a:t>der Mitte wachsend</a:t>
            </a: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CFEA1FA6-B6F0-407B-8D88-F150DDAE4732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1692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. 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BEC5940-52AE-4C01-A9B7-84CAC6EA9021}"/>
              </a:ext>
            </a:extLst>
          </p:cNvPr>
          <p:cNvGrpSpPr/>
          <p:nvPr/>
        </p:nvGrpSpPr>
        <p:grpSpPr>
          <a:xfrm>
            <a:off x="407368" y="3768689"/>
            <a:ext cx="8568952" cy="1008000"/>
            <a:chOff x="407368" y="3768689"/>
            <a:chExt cx="8134735" cy="1008000"/>
          </a:xfrm>
        </p:grpSpPr>
        <p:sp>
          <p:nvSpPr>
            <p:cNvPr id="15" name="Eingekerbter Richtungspfeil 16">
              <a:extLst>
                <a:ext uri="{FF2B5EF4-FFF2-40B4-BE49-F238E27FC236}">
                  <a16:creationId xmlns:a16="http://schemas.microsoft.com/office/drawing/2014/main" id="{443AE7A6-DCF8-4DFD-8769-3D10BD7DABD2}"/>
                </a:ext>
              </a:extLst>
            </p:cNvPr>
            <p:cNvSpPr/>
            <p:nvPr/>
          </p:nvSpPr>
          <p:spPr bwMode="auto">
            <a:xfrm>
              <a:off x="3057927" y="3768689"/>
              <a:ext cx="2972685" cy="1008000"/>
            </a:xfrm>
            <a:prstGeom prst="chevron">
              <a:avLst>
                <a:gd name="adj" fmla="val 2742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92000" tIns="35991" rIns="0" bIns="359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600" dirty="0" err="1">
                  <a:latin typeface="+mj-lt"/>
                </a:rPr>
                <a:t>Lorem</a:t>
              </a:r>
              <a:r>
                <a:rPr lang="de-DE" sz="1600" dirty="0">
                  <a:latin typeface="+mj-lt"/>
                </a:rPr>
                <a:t> </a:t>
              </a:r>
              <a:r>
                <a:rPr lang="de-DE" sz="1600" dirty="0" err="1">
                  <a:latin typeface="+mj-lt"/>
                </a:rPr>
                <a:t>ipsum</a:t>
              </a:r>
              <a:br>
                <a:rPr lang="de-DE" sz="1600" dirty="0"/>
              </a:br>
              <a:r>
                <a:rPr lang="de-DE" sz="1600" dirty="0"/>
                <a:t>Intensive </a:t>
              </a:r>
              <a:r>
                <a:rPr lang="de-DE" sz="1600" dirty="0" err="1"/>
                <a:t>process</a:t>
              </a:r>
              <a:br>
                <a:rPr lang="de-DE" sz="1600" dirty="0"/>
              </a:br>
              <a:r>
                <a:rPr lang="de-DE" sz="1600" dirty="0" err="1"/>
                <a:t>of</a:t>
              </a:r>
              <a:r>
                <a:rPr lang="de-DE" sz="1600" dirty="0"/>
                <a:t> </a:t>
              </a:r>
              <a:r>
                <a:rPr lang="de-DE" sz="1600" dirty="0" err="1"/>
                <a:t>consulation</a:t>
              </a:r>
              <a:endParaRPr lang="de-DE" sz="1600" dirty="0"/>
            </a:p>
          </p:txBody>
        </p:sp>
        <p:sp>
          <p:nvSpPr>
            <p:cNvPr id="16" name="Richtungspfeil 19">
              <a:extLst>
                <a:ext uri="{FF2B5EF4-FFF2-40B4-BE49-F238E27FC236}">
                  <a16:creationId xmlns:a16="http://schemas.microsoft.com/office/drawing/2014/main" id="{8877BB4B-69BB-4381-B56E-01CE31959F0F}"/>
                </a:ext>
              </a:extLst>
            </p:cNvPr>
            <p:cNvSpPr/>
            <p:nvPr/>
          </p:nvSpPr>
          <p:spPr bwMode="auto">
            <a:xfrm>
              <a:off x="407368" y="3768689"/>
              <a:ext cx="2848054" cy="1008000"/>
            </a:xfrm>
            <a:prstGeom prst="homePlate">
              <a:avLst>
                <a:gd name="adj" fmla="val 2742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0" tIns="35991" rIns="0" bIns="35991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de-DE" sz="1600" dirty="0" err="1">
                  <a:latin typeface="+mj-lt"/>
                </a:rPr>
                <a:t>Lorem</a:t>
              </a:r>
              <a:r>
                <a:rPr lang="de-DE" sz="1600" dirty="0">
                  <a:latin typeface="+mj-lt"/>
                </a:rPr>
                <a:t> </a:t>
              </a:r>
              <a:r>
                <a:rPr lang="de-DE" sz="1600" dirty="0" err="1">
                  <a:latin typeface="+mj-lt"/>
                </a:rPr>
                <a:t>ipsum</a:t>
              </a:r>
              <a:br>
                <a:rPr lang="de-DE" sz="1600" dirty="0"/>
              </a:br>
              <a:r>
                <a:rPr lang="de-DE" sz="1600" dirty="0"/>
                <a:t>Intensive </a:t>
              </a:r>
              <a:r>
                <a:rPr lang="de-DE" sz="1600" dirty="0" err="1"/>
                <a:t>process</a:t>
              </a:r>
              <a:br>
                <a:rPr lang="de-DE" sz="1600" dirty="0"/>
              </a:br>
              <a:r>
                <a:rPr lang="de-DE" sz="1600" dirty="0" err="1"/>
                <a:t>of</a:t>
              </a:r>
              <a:r>
                <a:rPr lang="de-DE" sz="1600" dirty="0"/>
                <a:t> </a:t>
              </a:r>
              <a:r>
                <a:rPr lang="de-DE" sz="1600" dirty="0" err="1"/>
                <a:t>consulation</a:t>
              </a:r>
              <a:endParaRPr lang="de-DE" sz="1600" dirty="0"/>
            </a:p>
          </p:txBody>
        </p:sp>
        <p:sp>
          <p:nvSpPr>
            <p:cNvPr id="17" name="Eingekerbter Richtungspfeil 20">
              <a:extLst>
                <a:ext uri="{FF2B5EF4-FFF2-40B4-BE49-F238E27FC236}">
                  <a16:creationId xmlns:a16="http://schemas.microsoft.com/office/drawing/2014/main" id="{5DE700CF-2A32-4079-B17C-EF79BD6ED92A}"/>
                </a:ext>
              </a:extLst>
            </p:cNvPr>
            <p:cNvSpPr/>
            <p:nvPr/>
          </p:nvSpPr>
          <p:spPr bwMode="auto">
            <a:xfrm>
              <a:off x="5833116" y="3768689"/>
              <a:ext cx="2708987" cy="1008000"/>
            </a:xfrm>
            <a:prstGeom prst="chevron">
              <a:avLst>
                <a:gd name="adj" fmla="val 27425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12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600" dirty="0" err="1">
                  <a:solidFill>
                    <a:schemeClr val="bg2"/>
                  </a:solidFill>
                  <a:latin typeface="+mj-lt"/>
                  <a:cs typeface="EnBW DIN Pro"/>
                  <a:sym typeface="EnBW DIN Pro"/>
                </a:rPr>
                <a:t>Lorem</a:t>
              </a:r>
              <a:r>
                <a:rPr lang="de-DE" sz="1600" dirty="0">
                  <a:solidFill>
                    <a:schemeClr val="bg2"/>
                  </a:solidFill>
                  <a:latin typeface="+mj-lt"/>
                  <a:cs typeface="EnBW DIN Pro"/>
                  <a:sym typeface="EnBW DIN Pro"/>
                </a:rPr>
                <a:t> </a:t>
              </a:r>
              <a:r>
                <a:rPr lang="de-DE" sz="1600" dirty="0" err="1">
                  <a:solidFill>
                    <a:schemeClr val="bg2"/>
                  </a:solidFill>
                  <a:latin typeface="+mj-lt"/>
                  <a:cs typeface="EnBW DIN Pro"/>
                  <a:sym typeface="EnBW DIN Pro"/>
                </a:rPr>
                <a:t>ipsum</a:t>
              </a:r>
              <a:br>
                <a:rPr lang="de-DE" sz="1600" dirty="0">
                  <a:solidFill>
                    <a:schemeClr val="bg1"/>
                  </a:solidFill>
                  <a:cs typeface="EnBW DIN Pro"/>
                  <a:sym typeface="EnBW DIN Pro"/>
                </a:rPr>
              </a:br>
              <a:r>
                <a:rPr lang="de-DE" sz="1600" dirty="0">
                  <a:solidFill>
                    <a:schemeClr val="bg1"/>
                  </a:solidFill>
                  <a:cs typeface="EnBW DIN Pro"/>
                  <a:sym typeface="EnBW DIN Pro"/>
                </a:rPr>
                <a:t>Intensive </a:t>
              </a:r>
              <a:r>
                <a:rPr lang="de-DE" sz="1600" dirty="0" err="1">
                  <a:solidFill>
                    <a:schemeClr val="bg1"/>
                  </a:solidFill>
                  <a:cs typeface="EnBW DIN Pro"/>
                  <a:sym typeface="EnBW DIN Pro"/>
                </a:rPr>
                <a:t>process</a:t>
              </a:r>
              <a:r>
                <a:rPr lang="de-DE" sz="1600" dirty="0">
                  <a:solidFill>
                    <a:schemeClr val="bg1"/>
                  </a:solidFill>
                  <a:cs typeface="EnBW DIN Pro"/>
                  <a:sym typeface="EnBW DIN Pro"/>
                </a:rPr>
                <a:t> </a:t>
              </a:r>
              <a:r>
                <a:rPr lang="de-DE" sz="1600" dirty="0" err="1">
                  <a:solidFill>
                    <a:schemeClr val="bg1"/>
                  </a:solidFill>
                  <a:cs typeface="EnBW DIN Pro"/>
                  <a:sym typeface="EnBW DIN Pro"/>
                </a:rPr>
                <a:t>of</a:t>
              </a:r>
              <a:r>
                <a:rPr lang="de-DE" sz="1600" dirty="0">
                  <a:solidFill>
                    <a:schemeClr val="bg1"/>
                  </a:solidFill>
                  <a:cs typeface="EnBW DIN Pro"/>
                  <a:sym typeface="EnBW DIN Pro"/>
                </a:rPr>
                <a:t> </a:t>
              </a:r>
              <a:r>
                <a:rPr lang="de-DE" sz="1600" dirty="0" err="1">
                  <a:solidFill>
                    <a:schemeClr val="bg1"/>
                  </a:solidFill>
                  <a:cs typeface="EnBW DIN Pro"/>
                  <a:sym typeface="EnBW DIN Pro"/>
                </a:rPr>
                <a:t>consulation</a:t>
              </a:r>
              <a:endParaRPr lang="de-DE" sz="1600" dirty="0">
                <a:solidFill>
                  <a:schemeClr val="bg1"/>
                </a:solidFill>
                <a:cs typeface="EnBW DIN Pro"/>
                <a:sym typeface="EnBW DIN Pro"/>
              </a:endParaRPr>
            </a:p>
          </p:txBody>
        </p:sp>
      </p:grp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22712F40-4DA0-4CE0-8464-2B336D4B1C94}"/>
              </a:ext>
            </a:extLst>
          </p:cNvPr>
          <p:cNvSpPr txBox="1">
            <a:spLocks/>
          </p:cNvSpPr>
          <p:nvPr/>
        </p:nvSpPr>
        <p:spPr>
          <a:xfrm>
            <a:off x="9120956" y="3768690"/>
            <a:ext cx="2663058" cy="10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5500" dirty="0">
                <a:solidFill>
                  <a:schemeClr val="tx1"/>
                </a:solidFill>
              </a:rPr>
              <a:t>+25,3%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0BF8B55-E4C2-4531-897A-AB8DC98FB4C7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46BD53C-A99D-45C9-9C39-7822BC18537A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DC164B53-05E2-450A-BD0A-580B70129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pic>
        <p:nvPicPr>
          <p:cNvPr id="23" name="Grafik 22">
            <a:extLst>
              <a:ext uri="{FF2B5EF4-FFF2-40B4-BE49-F238E27FC236}">
                <a16:creationId xmlns:a16="http://schemas.microsoft.com/office/drawing/2014/main" id="{341D0357-47EE-4576-91C6-F1B4410AF1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48028" y="3948945"/>
            <a:ext cx="647488" cy="64748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34F9F062-37D5-9AED-E51B-E8C8FEB225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6000" y="3949200"/>
            <a:ext cx="648000" cy="648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7C693842-8F87-B0C7-A347-709D9F2A54D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38800" y="39492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73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6057AF13-D06A-4437-B50B-FB9EEE713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xtfolie mit Prozess aus</a:t>
            </a:r>
            <a:br>
              <a:rPr lang="de-DE" dirty="0"/>
            </a:br>
            <a:r>
              <a:rPr lang="de-DE" dirty="0"/>
              <a:t>der Mitte wachsend</a:t>
            </a: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CFEA1FA6-B6F0-407B-8D88-F150DDAE4732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1692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. 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</p:txBody>
      </p:sp>
      <p:sp>
        <p:nvSpPr>
          <p:cNvPr id="15" name="Eingekerbter Richtungspfeil 16">
            <a:extLst>
              <a:ext uri="{FF2B5EF4-FFF2-40B4-BE49-F238E27FC236}">
                <a16:creationId xmlns:a16="http://schemas.microsoft.com/office/drawing/2014/main" id="{443AE7A6-DCF8-4DFD-8769-3D10BD7DABD2}"/>
              </a:ext>
            </a:extLst>
          </p:cNvPr>
          <p:cNvSpPr/>
          <p:nvPr/>
        </p:nvSpPr>
        <p:spPr bwMode="auto">
          <a:xfrm>
            <a:off x="3879707" y="3760863"/>
            <a:ext cx="2520000" cy="100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 err="1">
                <a:latin typeface="+mj-lt"/>
              </a:rPr>
              <a:t>Lorem</a:t>
            </a:r>
            <a:r>
              <a:rPr lang="de-DE" sz="1600" dirty="0">
                <a:latin typeface="+mj-lt"/>
              </a:rPr>
              <a:t> </a:t>
            </a:r>
            <a:r>
              <a:rPr lang="de-DE" sz="1600" dirty="0" err="1">
                <a:latin typeface="+mj-lt"/>
              </a:rPr>
              <a:t>ipsum</a:t>
            </a:r>
            <a:br>
              <a:rPr lang="de-DE" sz="1600" dirty="0"/>
            </a:br>
            <a:r>
              <a:rPr lang="de-DE" sz="1600" dirty="0"/>
              <a:t>Intensive </a:t>
            </a:r>
            <a:r>
              <a:rPr lang="de-DE" sz="1600" dirty="0" err="1"/>
              <a:t>process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br>
              <a:rPr lang="de-DE" sz="1600" dirty="0"/>
            </a:br>
            <a:r>
              <a:rPr lang="de-DE" sz="1600" dirty="0" err="1"/>
              <a:t>consulation</a:t>
            </a:r>
            <a:r>
              <a:rPr lang="de-DE" sz="1600" dirty="0"/>
              <a:t> </a:t>
            </a:r>
            <a:r>
              <a:rPr lang="de-DE" sz="1600" dirty="0" err="1"/>
              <a:t>lasting</a:t>
            </a:r>
            <a:r>
              <a:rPr lang="de-DE" sz="1600" dirty="0"/>
              <a:t>.</a:t>
            </a:r>
          </a:p>
        </p:txBody>
      </p:sp>
      <p:sp>
        <p:nvSpPr>
          <p:cNvPr id="16" name="Richtungspfeil 19">
            <a:extLst>
              <a:ext uri="{FF2B5EF4-FFF2-40B4-BE49-F238E27FC236}">
                <a16:creationId xmlns:a16="http://schemas.microsoft.com/office/drawing/2014/main" id="{8877BB4B-69BB-4381-B56E-01CE31959F0F}"/>
              </a:ext>
            </a:extLst>
          </p:cNvPr>
          <p:cNvSpPr/>
          <p:nvPr/>
        </p:nvSpPr>
        <p:spPr bwMode="auto">
          <a:xfrm>
            <a:off x="1307748" y="3760863"/>
            <a:ext cx="2520000" cy="100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72000" bIns="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600" dirty="0" err="1">
                <a:latin typeface="+mj-lt"/>
              </a:rPr>
              <a:t>Lorem</a:t>
            </a:r>
            <a:r>
              <a:rPr lang="de-DE" sz="1600" dirty="0">
                <a:latin typeface="+mj-lt"/>
              </a:rPr>
              <a:t> </a:t>
            </a:r>
            <a:r>
              <a:rPr lang="de-DE" sz="1600" dirty="0" err="1">
                <a:latin typeface="+mj-lt"/>
              </a:rPr>
              <a:t>ipsum</a:t>
            </a:r>
            <a:br>
              <a:rPr lang="de-DE" sz="1600" dirty="0"/>
            </a:br>
            <a:r>
              <a:rPr lang="de-DE" sz="1600" dirty="0"/>
              <a:t>Intensive </a:t>
            </a:r>
            <a:r>
              <a:rPr lang="de-DE" sz="1600" dirty="0" err="1"/>
              <a:t>process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br>
              <a:rPr lang="de-DE" sz="1600" dirty="0"/>
            </a:br>
            <a:r>
              <a:rPr lang="de-DE" sz="1600" dirty="0" err="1"/>
              <a:t>consulation</a:t>
            </a:r>
            <a:r>
              <a:rPr lang="de-DE" sz="1600" dirty="0"/>
              <a:t> </a:t>
            </a:r>
            <a:r>
              <a:rPr lang="de-DE" sz="1600" dirty="0" err="1"/>
              <a:t>lasting</a:t>
            </a:r>
            <a:r>
              <a:rPr lang="de-DE" sz="1600" dirty="0"/>
              <a:t>.</a:t>
            </a:r>
          </a:p>
        </p:txBody>
      </p:sp>
      <p:sp>
        <p:nvSpPr>
          <p:cNvPr id="17" name="Eingekerbter Richtungspfeil 20">
            <a:extLst>
              <a:ext uri="{FF2B5EF4-FFF2-40B4-BE49-F238E27FC236}">
                <a16:creationId xmlns:a16="http://schemas.microsoft.com/office/drawing/2014/main" id="{5DE700CF-2A32-4079-B17C-EF79BD6ED92A}"/>
              </a:ext>
            </a:extLst>
          </p:cNvPr>
          <p:cNvSpPr/>
          <p:nvPr/>
        </p:nvSpPr>
        <p:spPr bwMode="auto">
          <a:xfrm>
            <a:off x="6451666" y="3760863"/>
            <a:ext cx="2520000" cy="100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10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 err="1">
                <a:latin typeface="+mj-lt"/>
                <a:cs typeface="EnBW DIN Pro"/>
                <a:sym typeface="EnBW DIN Pro"/>
              </a:rPr>
              <a:t>Lorem</a:t>
            </a:r>
            <a:r>
              <a:rPr lang="de-DE" sz="1600" dirty="0">
                <a:latin typeface="+mj-lt"/>
                <a:cs typeface="EnBW DIN Pro"/>
                <a:sym typeface="EnBW DIN Pro"/>
              </a:rPr>
              <a:t> </a:t>
            </a:r>
            <a:r>
              <a:rPr lang="de-DE" sz="1600" dirty="0" err="1">
                <a:latin typeface="+mj-lt"/>
                <a:cs typeface="EnBW DIN Pro"/>
                <a:sym typeface="EnBW DIN Pro"/>
              </a:rPr>
              <a:t>ipsum</a:t>
            </a:r>
            <a:br>
              <a:rPr lang="de-DE" sz="1600" dirty="0">
                <a:cs typeface="EnBW DIN Pro"/>
                <a:sym typeface="EnBW DIN Pro"/>
              </a:rPr>
            </a:br>
            <a:r>
              <a:rPr lang="de-DE" sz="1600" dirty="0">
                <a:cs typeface="EnBW DIN Pro"/>
                <a:sym typeface="EnBW DIN Pro"/>
              </a:rPr>
              <a:t>Intensive </a:t>
            </a:r>
            <a:r>
              <a:rPr lang="de-DE" sz="1600" dirty="0" err="1">
                <a:cs typeface="EnBW DIN Pro"/>
                <a:sym typeface="EnBW DIN Pro"/>
              </a:rPr>
              <a:t>process</a:t>
            </a:r>
            <a:r>
              <a:rPr lang="de-DE" sz="1600" dirty="0">
                <a:cs typeface="EnBW DIN Pro"/>
                <a:sym typeface="EnBW DIN Pro"/>
              </a:rPr>
              <a:t> </a:t>
            </a:r>
            <a:r>
              <a:rPr lang="de-DE" sz="1600" dirty="0" err="1">
                <a:cs typeface="EnBW DIN Pro"/>
                <a:sym typeface="EnBW DIN Pro"/>
              </a:rPr>
              <a:t>of</a:t>
            </a:r>
            <a:br>
              <a:rPr lang="de-DE" sz="1600" dirty="0">
                <a:cs typeface="EnBW DIN Pro"/>
                <a:sym typeface="EnBW DIN Pro"/>
              </a:rPr>
            </a:br>
            <a:r>
              <a:rPr lang="de-DE" sz="1600" dirty="0" err="1">
                <a:cs typeface="EnBW DIN Pro"/>
                <a:sym typeface="EnBW DIN Pro"/>
              </a:rPr>
              <a:t>consulation</a:t>
            </a:r>
            <a:r>
              <a:rPr lang="de-DE" sz="1600" dirty="0">
                <a:cs typeface="EnBW DIN Pro"/>
                <a:sym typeface="EnBW DIN Pro"/>
              </a:rPr>
              <a:t> </a:t>
            </a:r>
            <a:r>
              <a:rPr lang="de-DE" sz="1600" dirty="0" err="1">
                <a:cs typeface="EnBW DIN Pro"/>
                <a:sym typeface="EnBW DIN Pro"/>
              </a:rPr>
              <a:t>lasting</a:t>
            </a:r>
            <a:r>
              <a:rPr lang="de-DE" sz="1600" dirty="0">
                <a:cs typeface="EnBW DIN Pro"/>
                <a:sym typeface="EnBW DIN Pro"/>
              </a:rPr>
              <a:t>.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90B5F67F-399E-40A4-971E-284C6DA5F286}"/>
              </a:ext>
            </a:extLst>
          </p:cNvPr>
          <p:cNvSpPr>
            <a:spLocks/>
          </p:cNvSpPr>
          <p:nvPr/>
        </p:nvSpPr>
        <p:spPr bwMode="auto">
          <a:xfrm>
            <a:off x="3467708" y="4068261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3033D41C-39B3-4995-9DB9-5A7EB0BDBAFC}"/>
              </a:ext>
            </a:extLst>
          </p:cNvPr>
          <p:cNvSpPr>
            <a:spLocks/>
          </p:cNvSpPr>
          <p:nvPr/>
        </p:nvSpPr>
        <p:spPr bwMode="auto">
          <a:xfrm>
            <a:off x="6039667" y="4068261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2EA90FE-0B6B-4BB3-BE3B-EAF4FA2271EE}"/>
              </a:ext>
            </a:extLst>
          </p:cNvPr>
          <p:cNvGrpSpPr/>
          <p:nvPr/>
        </p:nvGrpSpPr>
        <p:grpSpPr>
          <a:xfrm>
            <a:off x="407368" y="3760807"/>
            <a:ext cx="8280920" cy="1008112"/>
            <a:chOff x="407368" y="3753036"/>
            <a:chExt cx="8820770" cy="1008112"/>
          </a:xfrm>
        </p:grpSpPr>
        <p:cxnSp>
          <p:nvCxnSpPr>
            <p:cNvPr id="3" name="Gerader Verbinder 2">
              <a:extLst>
                <a:ext uri="{FF2B5EF4-FFF2-40B4-BE49-F238E27FC236}">
                  <a16:creationId xmlns:a16="http://schemas.microsoft.com/office/drawing/2014/main" id="{11DBBDCC-BABA-4217-A52B-BE64E23D3C67}"/>
                </a:ext>
              </a:extLst>
            </p:cNvPr>
            <p:cNvCxnSpPr/>
            <p:nvPr/>
          </p:nvCxnSpPr>
          <p:spPr>
            <a:xfrm flipV="1">
              <a:off x="407368" y="3753036"/>
              <a:ext cx="8820770" cy="0"/>
            </a:xfrm>
            <a:prstGeom prst="line">
              <a:avLst/>
            </a:prstGeom>
            <a:noFill/>
            <a:ln w="38100" cap="rnd">
              <a:solidFill>
                <a:schemeClr val="accent1"/>
              </a:solidFill>
            </a:ln>
          </p:spPr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D1838A66-4330-42D6-8A6D-399451540DCA}"/>
                </a:ext>
              </a:extLst>
            </p:cNvPr>
            <p:cNvCxnSpPr/>
            <p:nvPr/>
          </p:nvCxnSpPr>
          <p:spPr>
            <a:xfrm flipV="1">
              <a:off x="407368" y="4761148"/>
              <a:ext cx="8820770" cy="0"/>
            </a:xfrm>
            <a:prstGeom prst="line">
              <a:avLst/>
            </a:prstGeom>
            <a:noFill/>
            <a:ln w="38100" cap="rnd">
              <a:solidFill>
                <a:schemeClr val="accent1"/>
              </a:solidFill>
            </a:ln>
          </p:spPr>
        </p:cxnSp>
      </p:grp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79BAF00F-C458-4F3B-A21F-9D578C2D0C6A}"/>
              </a:ext>
            </a:extLst>
          </p:cNvPr>
          <p:cNvSpPr txBox="1">
            <a:spLocks/>
          </p:cNvSpPr>
          <p:nvPr/>
        </p:nvSpPr>
        <p:spPr>
          <a:xfrm>
            <a:off x="8904312" y="3760863"/>
            <a:ext cx="2844316" cy="100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5500" dirty="0">
                <a:solidFill>
                  <a:schemeClr val="tx1"/>
                </a:solidFill>
              </a:rPr>
              <a:t>+25,3%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3FD05BCB-E34B-428D-BE14-DA9524C6CD65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A82C0CEE-4CE3-498B-A278-7919D1D56B57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72E5B127-FCF3-43B5-BD86-933E9F1B37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55F660A3-A868-8B66-0C7D-ED824629C4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7368" y="3825044"/>
            <a:ext cx="878400" cy="87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0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FAE2B97-C3F8-4DD3-AE90-2B40A0E24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Ich bin ein Zita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Name Nachname</a:t>
            </a:r>
          </a:p>
          <a:p>
            <a:pPr lvl="2"/>
            <a:r>
              <a:rPr lang="de-DE" dirty="0"/>
              <a:t>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6414BF-4ECB-494F-8C31-27E4DE136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DFB8F6-0891-46DC-9312-1188A8372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3233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FAE2B97-C3F8-4DD3-AE90-2B40A0E24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3248347"/>
            <a:ext cx="8640762" cy="3025453"/>
          </a:xfrm>
        </p:spPr>
        <p:txBody>
          <a:bodyPr/>
          <a:lstStyle/>
          <a:p>
            <a:r>
              <a:rPr lang="de-DE" dirty="0"/>
              <a:t>Ich bin ein Zita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Name Nachname</a:t>
            </a:r>
          </a:p>
          <a:p>
            <a:pPr lvl="2"/>
            <a:r>
              <a:rPr lang="de-DE" dirty="0"/>
              <a:t>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6414BF-4ECB-494F-8C31-27E4DE136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DFB8F6-0891-46DC-9312-1188A8372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43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81CE0C3-ED16-7F86-F825-4D5CCE88F2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368300"/>
            <a:ext cx="216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88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Ein Bild, das draußen, Himmel, Person, Schwimmen enthält.&#10;&#10;Automatisch generierte Beschreibung">
            <a:extLst>
              <a:ext uri="{FF2B5EF4-FFF2-40B4-BE49-F238E27FC236}">
                <a16:creationId xmlns:a16="http://schemas.microsoft.com/office/drawing/2014/main" id="{AE171DEB-845D-B840-0774-948B540C3C2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FAE2B97-C3F8-4DD3-AE90-2B40A0E24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844675"/>
            <a:ext cx="5400675" cy="4429125"/>
          </a:xfrm>
        </p:spPr>
        <p:txBody>
          <a:bodyPr/>
          <a:lstStyle/>
          <a:p>
            <a:r>
              <a:rPr lang="de-DE" dirty="0"/>
              <a:t>Ich bin ein Zita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Name Nachname</a:t>
            </a:r>
          </a:p>
          <a:p>
            <a:pPr lvl="2"/>
            <a:r>
              <a:rPr lang="de-DE" dirty="0"/>
              <a:t>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6414BF-4ECB-494F-8C31-27E4DE136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DFB8F6-0891-46DC-9312-1188A8372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>
                <a:solidFill>
                  <a:schemeClr val="bg1"/>
                </a:solidFill>
              </a:rPr>
              <a:t>44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63C46CB-7C2D-9FA9-C94D-B6FCF71306C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00456" y="419762"/>
            <a:ext cx="1584176" cy="344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894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53862A-5092-4EAB-8B8F-A50E3D73C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38F465-69FB-4B97-BB7C-6C4E3DD8BF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45</a:t>
            </a:fld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61C542-88F3-4063-A863-49B43C4094C4}"/>
              </a:ext>
            </a:extLst>
          </p:cNvPr>
          <p:cNvSpPr/>
          <p:nvPr/>
        </p:nvSpPr>
        <p:spPr>
          <a:xfrm>
            <a:off x="3432125" y="3068960"/>
            <a:ext cx="6336282" cy="1152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/>
          <a:lstStyle/>
          <a:p>
            <a:pPr algn="ctr"/>
            <a:r>
              <a:rPr lang="de-DE" sz="6000" dirty="0">
                <a:solidFill>
                  <a:schemeClr val="tx1"/>
                </a:solidFill>
                <a:latin typeface="+mj-lt"/>
              </a:rPr>
              <a:t>Nachhaltigkei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219DB44-DA3F-440F-BAE3-62076E12D9D8}"/>
              </a:ext>
            </a:extLst>
          </p:cNvPr>
          <p:cNvSpPr/>
          <p:nvPr/>
        </p:nvSpPr>
        <p:spPr>
          <a:xfrm>
            <a:off x="2189226" y="3958605"/>
            <a:ext cx="4050789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6000" dirty="0">
                <a:solidFill>
                  <a:schemeClr val="bg1"/>
                </a:solidFill>
              </a:rPr>
              <a:t>Kund*inn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AB04C01-4DE6-4886-ABF2-7302B925CAE9}"/>
              </a:ext>
            </a:extLst>
          </p:cNvPr>
          <p:cNvSpPr/>
          <p:nvPr/>
        </p:nvSpPr>
        <p:spPr>
          <a:xfrm>
            <a:off x="6816079" y="1340768"/>
            <a:ext cx="4397679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6000" dirty="0">
                <a:solidFill>
                  <a:schemeClr val="bg1"/>
                </a:solidFill>
              </a:rPr>
              <a:t>Erzeugungs-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 err="1">
                <a:solidFill>
                  <a:schemeClr val="bg1"/>
                </a:solidFill>
              </a:rPr>
              <a:t>infrastruktur</a:t>
            </a:r>
            <a:endParaRPr lang="de-DE" sz="6000" dirty="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CD12389-8A84-4482-9EFB-AFAA1BAB90C1}"/>
              </a:ext>
            </a:extLst>
          </p:cNvPr>
          <p:cNvSpPr/>
          <p:nvPr/>
        </p:nvSpPr>
        <p:spPr>
          <a:xfrm>
            <a:off x="0" y="1268760"/>
            <a:ext cx="1415480" cy="5759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E990E53-AB96-4EEA-BBE5-91006C834193}"/>
              </a:ext>
            </a:extLst>
          </p:cNvPr>
          <p:cNvSpPr/>
          <p:nvPr/>
        </p:nvSpPr>
        <p:spPr>
          <a:xfrm>
            <a:off x="482271" y="1340768"/>
            <a:ext cx="5470407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6000" dirty="0">
                <a:solidFill>
                  <a:schemeClr val="bg1"/>
                </a:solidFill>
              </a:rPr>
              <a:t>Systemkritische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>
                <a:solidFill>
                  <a:schemeClr val="bg1"/>
                </a:solidFill>
              </a:rPr>
              <a:t>Infrastruktu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F70FF76-51AC-4A1B-996E-13ECCA08A920}"/>
              </a:ext>
            </a:extLst>
          </p:cNvPr>
          <p:cNvSpPr/>
          <p:nvPr/>
        </p:nvSpPr>
        <p:spPr>
          <a:xfrm>
            <a:off x="1568266" y="3309833"/>
            <a:ext cx="2179507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4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Vertrieb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4458E62-5CF2-4813-AB9B-04FF70C9B53A}"/>
              </a:ext>
            </a:extLst>
          </p:cNvPr>
          <p:cNvSpPr/>
          <p:nvPr/>
        </p:nvSpPr>
        <p:spPr>
          <a:xfrm>
            <a:off x="1127447" y="5013176"/>
            <a:ext cx="6062493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4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Erneuerbare Energi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4486C9F-ACB8-4E21-B411-A76CA114C3A5}"/>
              </a:ext>
            </a:extLst>
          </p:cNvPr>
          <p:cNvSpPr/>
          <p:nvPr/>
        </p:nvSpPr>
        <p:spPr>
          <a:xfrm>
            <a:off x="7315547" y="3958605"/>
            <a:ext cx="4612481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6000" dirty="0">
                <a:solidFill>
                  <a:schemeClr val="bg1"/>
                </a:solidFill>
              </a:rPr>
              <a:t>Intelligente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>
                <a:solidFill>
                  <a:schemeClr val="bg1"/>
                </a:solidFill>
              </a:rPr>
              <a:t>Infrastruktur 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D10D2CA-C4FF-4BB9-A749-3E60E1498F7E}"/>
              </a:ext>
            </a:extLst>
          </p:cNvPr>
          <p:cNvSpPr/>
          <p:nvPr/>
        </p:nvSpPr>
        <p:spPr>
          <a:xfrm rot="16200000">
            <a:off x="5579650" y="1926798"/>
            <a:ext cx="1590179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4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Netz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383FA17-D50F-44E8-A792-0F462A4862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68007" y="4077072"/>
            <a:ext cx="1173808" cy="117380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1E4F0B1-FA2C-40A7-9860-6BA818C052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5360" y="2329612"/>
            <a:ext cx="1173600" cy="117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50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53862A-5092-4EAB-8B8F-A50E3D73C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chemeClr val="bg1"/>
                </a:solidFill>
              </a:rPr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38F465-69FB-4B97-BB7C-6C4E3DD8BF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>
                <a:solidFill>
                  <a:schemeClr val="bg1"/>
                </a:solidFill>
              </a:rPr>
              <a:t>46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61C542-88F3-4063-A863-49B43C4094C4}"/>
              </a:ext>
            </a:extLst>
          </p:cNvPr>
          <p:cNvSpPr/>
          <p:nvPr/>
        </p:nvSpPr>
        <p:spPr>
          <a:xfrm>
            <a:off x="3432125" y="3068960"/>
            <a:ext cx="6336282" cy="1152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/>
          <a:lstStyle/>
          <a:p>
            <a:pPr algn="ctr"/>
            <a:r>
              <a:rPr lang="de-DE" sz="6000" dirty="0">
                <a:solidFill>
                  <a:schemeClr val="bg2"/>
                </a:solidFill>
                <a:latin typeface="+mj-lt"/>
              </a:rPr>
              <a:t>Nachhaltigkei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219DB44-DA3F-440F-BAE3-62076E12D9D8}"/>
              </a:ext>
            </a:extLst>
          </p:cNvPr>
          <p:cNvSpPr/>
          <p:nvPr/>
        </p:nvSpPr>
        <p:spPr>
          <a:xfrm>
            <a:off x="2189226" y="3958605"/>
            <a:ext cx="4050789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6000" dirty="0">
                <a:solidFill>
                  <a:schemeClr val="bg1"/>
                </a:solidFill>
              </a:rPr>
              <a:t>Kund*inn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AB04C01-4DE6-4886-ABF2-7302B925CAE9}"/>
              </a:ext>
            </a:extLst>
          </p:cNvPr>
          <p:cNvSpPr/>
          <p:nvPr/>
        </p:nvSpPr>
        <p:spPr>
          <a:xfrm>
            <a:off x="6816079" y="1340768"/>
            <a:ext cx="4397679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6000" dirty="0">
                <a:solidFill>
                  <a:schemeClr val="bg1"/>
                </a:solidFill>
              </a:rPr>
              <a:t>Erzeugungs-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 err="1">
                <a:solidFill>
                  <a:schemeClr val="bg1"/>
                </a:solidFill>
              </a:rPr>
              <a:t>infrastruktur</a:t>
            </a:r>
            <a:endParaRPr lang="de-DE" sz="6000" dirty="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CD12389-8A84-4482-9EFB-AFAA1BAB90C1}"/>
              </a:ext>
            </a:extLst>
          </p:cNvPr>
          <p:cNvSpPr/>
          <p:nvPr/>
        </p:nvSpPr>
        <p:spPr>
          <a:xfrm>
            <a:off x="0" y="1268760"/>
            <a:ext cx="1415480" cy="5759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E990E53-AB96-4EEA-BBE5-91006C834193}"/>
              </a:ext>
            </a:extLst>
          </p:cNvPr>
          <p:cNvSpPr/>
          <p:nvPr/>
        </p:nvSpPr>
        <p:spPr>
          <a:xfrm>
            <a:off x="482271" y="1340768"/>
            <a:ext cx="5470407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6000" dirty="0">
                <a:solidFill>
                  <a:schemeClr val="bg1"/>
                </a:solidFill>
              </a:rPr>
              <a:t>Systemkritische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>
                <a:solidFill>
                  <a:schemeClr val="bg1"/>
                </a:solidFill>
              </a:rPr>
              <a:t>Infrastruktu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F70FF76-51AC-4A1B-996E-13ECCA08A920}"/>
              </a:ext>
            </a:extLst>
          </p:cNvPr>
          <p:cNvSpPr/>
          <p:nvPr/>
        </p:nvSpPr>
        <p:spPr>
          <a:xfrm>
            <a:off x="1568266" y="3309833"/>
            <a:ext cx="2179507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48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Vertrieb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4458E62-5CF2-4813-AB9B-04FF70C9B53A}"/>
              </a:ext>
            </a:extLst>
          </p:cNvPr>
          <p:cNvSpPr/>
          <p:nvPr/>
        </p:nvSpPr>
        <p:spPr>
          <a:xfrm>
            <a:off x="1127447" y="5013176"/>
            <a:ext cx="6062493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48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Erneuerbare Energi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4486C9F-ACB8-4E21-B411-A76CA114C3A5}"/>
              </a:ext>
            </a:extLst>
          </p:cNvPr>
          <p:cNvSpPr/>
          <p:nvPr/>
        </p:nvSpPr>
        <p:spPr>
          <a:xfrm>
            <a:off x="7315547" y="3958605"/>
            <a:ext cx="4612481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6000" dirty="0">
                <a:solidFill>
                  <a:schemeClr val="bg1"/>
                </a:solidFill>
              </a:rPr>
              <a:t>Intelligente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>
                <a:solidFill>
                  <a:schemeClr val="bg1"/>
                </a:solidFill>
              </a:rPr>
              <a:t>Infrastruktur 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D10D2CA-C4FF-4BB9-A749-3E60E1498F7E}"/>
              </a:ext>
            </a:extLst>
          </p:cNvPr>
          <p:cNvSpPr/>
          <p:nvPr/>
        </p:nvSpPr>
        <p:spPr>
          <a:xfrm rot="16200000">
            <a:off x="5579650" y="1926798"/>
            <a:ext cx="1590179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48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Netz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383FA17-D50F-44E8-A792-0F462A4862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68007" y="4077072"/>
            <a:ext cx="1173808" cy="117380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1E4F0B1-FA2C-40A7-9860-6BA818C052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5360" y="2329612"/>
            <a:ext cx="1173600" cy="1173600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E24922DA-32A5-A9A2-B047-571CD8F6C1A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00632" y="419801"/>
            <a:ext cx="1584000" cy="344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089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CC127F2-8FB2-4D13-96A9-4B9155FC04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032" y="1844674"/>
            <a:ext cx="5399980" cy="4429126"/>
          </a:xfrm>
          <a:solidFill>
            <a:schemeClr val="accent1"/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CB1AF88-17F7-4463-B0A7-2B3CF30615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6040" y="2492896"/>
            <a:ext cx="864000" cy="864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371828D-7696-4F29-B8E3-BE43D658D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ordcloud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A109A94-D11C-4B3E-A153-AB860AD4A5B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47</a:t>
            </a:fld>
            <a:endParaRPr lang="de-DE" noProof="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E4EBE68-9614-4914-B9E9-801559EC19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48624" y="5373312"/>
            <a:ext cx="864000" cy="86400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368D0B97-934C-49E5-9EE8-5C3004FF644C}"/>
              </a:ext>
            </a:extLst>
          </p:cNvPr>
          <p:cNvSpPr/>
          <p:nvPr/>
        </p:nvSpPr>
        <p:spPr>
          <a:xfrm>
            <a:off x="6424072" y="3573016"/>
            <a:ext cx="5319901" cy="934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spAutoFit/>
          </a:bodyPr>
          <a:lstStyle/>
          <a:p>
            <a:pPr algn="ctr"/>
            <a:r>
              <a:rPr lang="de-DE" sz="5600" dirty="0">
                <a:solidFill>
                  <a:schemeClr val="tx1"/>
                </a:solidFill>
                <a:latin typeface="+mj-lt"/>
              </a:rPr>
              <a:t>Nachhaltigkei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440E1C2-CF2F-4379-96DC-FECFD856B71A}"/>
              </a:ext>
            </a:extLst>
          </p:cNvPr>
          <p:cNvSpPr/>
          <p:nvPr/>
        </p:nvSpPr>
        <p:spPr>
          <a:xfrm>
            <a:off x="6600056" y="4757663"/>
            <a:ext cx="2701059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4000" dirty="0">
                <a:solidFill>
                  <a:schemeClr val="bg1"/>
                </a:solidFill>
              </a:rPr>
              <a:t>Kund*inne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12A3F2A-0039-4793-941C-132E97DCE3CA}"/>
              </a:ext>
            </a:extLst>
          </p:cNvPr>
          <p:cNvSpPr/>
          <p:nvPr/>
        </p:nvSpPr>
        <p:spPr>
          <a:xfrm>
            <a:off x="9480376" y="4467592"/>
            <a:ext cx="2049472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Erzeugungs-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lang="de-DE" sz="2800" dirty="0" err="1">
                <a:solidFill>
                  <a:schemeClr val="tx1">
                    <a:lumMod val="25000"/>
                    <a:lumOff val="75000"/>
                  </a:schemeClr>
                </a:solidFill>
              </a:rPr>
              <a:t>infrastruktur</a:t>
            </a:r>
            <a:endParaRPr lang="de-DE" sz="2800" dirty="0">
              <a:solidFill>
                <a:schemeClr val="tx1">
                  <a:lumMod val="25000"/>
                  <a:lumOff val="75000"/>
                </a:schemeClr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FFBAE5F-BAB1-4935-8886-FDB24B3DFCF0}"/>
              </a:ext>
            </a:extLst>
          </p:cNvPr>
          <p:cNvSpPr/>
          <p:nvPr/>
        </p:nvSpPr>
        <p:spPr>
          <a:xfrm>
            <a:off x="7358361" y="2492896"/>
            <a:ext cx="2626071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Systemkritische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Infrastruktur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029404F-207D-4FCA-8EDC-3155633BB925}"/>
              </a:ext>
            </a:extLst>
          </p:cNvPr>
          <p:cNvSpPr/>
          <p:nvPr/>
        </p:nvSpPr>
        <p:spPr>
          <a:xfrm>
            <a:off x="8574285" y="5303530"/>
            <a:ext cx="2274243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2800" dirty="0">
                <a:solidFill>
                  <a:schemeClr val="bg1"/>
                </a:solidFill>
              </a:rPr>
              <a:t>Intelligente</a:t>
            </a:r>
            <a:br>
              <a:rPr lang="de-DE" sz="2800" dirty="0">
                <a:solidFill>
                  <a:schemeClr val="bg1"/>
                </a:solidFill>
              </a:rPr>
            </a:br>
            <a:r>
              <a:rPr lang="de-DE" sz="2800" dirty="0">
                <a:solidFill>
                  <a:schemeClr val="bg1"/>
                </a:solidFill>
              </a:rPr>
              <a:t>Infrastruktur 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B950565-523F-4E9F-A930-6668B23F53F6}"/>
              </a:ext>
            </a:extLst>
          </p:cNvPr>
          <p:cNvSpPr/>
          <p:nvPr/>
        </p:nvSpPr>
        <p:spPr>
          <a:xfrm>
            <a:off x="6600056" y="1886442"/>
            <a:ext cx="4544064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3600" dirty="0">
                <a:solidFill>
                  <a:schemeClr val="bg1"/>
                </a:solidFill>
              </a:rPr>
              <a:t>Erneuerbare Energien</a:t>
            </a: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E2CEA70D-28B4-489D-ADDB-3405A9108252}"/>
              </a:ext>
            </a:extLst>
          </p:cNvPr>
          <p:cNvSpPr txBox="1"/>
          <p:nvPr/>
        </p:nvSpPr>
        <p:spPr>
          <a:xfrm>
            <a:off x="6600056" y="5301208"/>
            <a:ext cx="1921956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sz="2800" dirty="0" err="1">
                <a:solidFill>
                  <a:schemeClr val="tx1">
                    <a:lumMod val="25000"/>
                    <a:lumOff val="75000"/>
                  </a:schemeClr>
                </a:solidFill>
              </a:rPr>
              <a:t>Erzeugung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&amp; Handel</a:t>
            </a:r>
          </a:p>
        </p:txBody>
      </p:sp>
      <p:sp>
        <p:nvSpPr>
          <p:cNvPr id="20" name="object 14">
            <a:extLst>
              <a:ext uri="{FF2B5EF4-FFF2-40B4-BE49-F238E27FC236}">
                <a16:creationId xmlns:a16="http://schemas.microsoft.com/office/drawing/2014/main" id="{27297EC5-1485-47EB-876F-CEF6BAAE3C27}"/>
              </a:ext>
            </a:extLst>
          </p:cNvPr>
          <p:cNvSpPr txBox="1"/>
          <p:nvPr/>
        </p:nvSpPr>
        <p:spPr>
          <a:xfrm>
            <a:off x="6600056" y="4366265"/>
            <a:ext cx="2353310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Vertrieb</a:t>
            </a:r>
            <a:endParaRPr sz="2800" dirty="0">
              <a:solidFill>
                <a:schemeClr val="tx1">
                  <a:lumMod val="25000"/>
                  <a:lumOff val="75000"/>
                </a:schemeClr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35DF80F8-BC2F-4793-8563-542C2FF1D4A5}"/>
              </a:ext>
            </a:extLst>
          </p:cNvPr>
          <p:cNvSpPr/>
          <p:nvPr/>
        </p:nvSpPr>
        <p:spPr>
          <a:xfrm>
            <a:off x="8184232" y="4365104"/>
            <a:ext cx="928139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2800" dirty="0">
                <a:solidFill>
                  <a:schemeClr val="bg1"/>
                </a:solidFill>
              </a:rPr>
              <a:t>Netze</a:t>
            </a:r>
          </a:p>
        </p:txBody>
      </p:sp>
      <p:sp>
        <p:nvSpPr>
          <p:cNvPr id="24" name="object 14">
            <a:extLst>
              <a:ext uri="{FF2B5EF4-FFF2-40B4-BE49-F238E27FC236}">
                <a16:creationId xmlns:a16="http://schemas.microsoft.com/office/drawing/2014/main" id="{CC12A210-F226-4448-839E-CBF03DA98C14}"/>
              </a:ext>
            </a:extLst>
          </p:cNvPr>
          <p:cNvSpPr txBox="1"/>
          <p:nvPr/>
        </p:nvSpPr>
        <p:spPr>
          <a:xfrm>
            <a:off x="8616280" y="3212976"/>
            <a:ext cx="2808312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sz="3600" dirty="0" err="1">
                <a:solidFill>
                  <a:schemeClr val="bg1"/>
                </a:solidFill>
              </a:rPr>
              <a:t>Lorem</a:t>
            </a:r>
            <a:r>
              <a:rPr lang="de-DE" sz="3600" dirty="0">
                <a:solidFill>
                  <a:schemeClr val="bg1"/>
                </a:solidFill>
              </a:rPr>
              <a:t> Ipsum</a:t>
            </a:r>
            <a:endParaRPr sz="3600" dirty="0">
              <a:solidFill>
                <a:schemeClr val="bg1"/>
              </a:solidFill>
            </a:endParaRPr>
          </a:p>
        </p:txBody>
      </p:sp>
      <p:sp>
        <p:nvSpPr>
          <p:cNvPr id="26" name="object 14">
            <a:extLst>
              <a:ext uri="{FF2B5EF4-FFF2-40B4-BE49-F238E27FC236}">
                <a16:creationId xmlns:a16="http://schemas.microsoft.com/office/drawing/2014/main" id="{ECF75F37-4809-4CF6-9EBF-6A2AD625382F}"/>
              </a:ext>
            </a:extLst>
          </p:cNvPr>
          <p:cNvSpPr txBox="1"/>
          <p:nvPr/>
        </p:nvSpPr>
        <p:spPr>
          <a:xfrm>
            <a:off x="6600056" y="3315464"/>
            <a:ext cx="2232248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de-DE" dirty="0" err="1"/>
              <a:t>Consetetur</a:t>
            </a:r>
            <a:endParaRPr dirty="0"/>
          </a:p>
        </p:txBody>
      </p:sp>
      <p:sp>
        <p:nvSpPr>
          <p:cNvPr id="29" name="object 14">
            <a:extLst>
              <a:ext uri="{FF2B5EF4-FFF2-40B4-BE49-F238E27FC236}">
                <a16:creationId xmlns:a16="http://schemas.microsoft.com/office/drawing/2014/main" id="{7D0B3DD8-44DE-417C-B5E5-21E9599CD81C}"/>
              </a:ext>
            </a:extLst>
          </p:cNvPr>
          <p:cNvSpPr txBox="1"/>
          <p:nvPr/>
        </p:nvSpPr>
        <p:spPr>
          <a:xfrm>
            <a:off x="9264352" y="2420888"/>
            <a:ext cx="2232248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 err="1"/>
              <a:t>diam</a:t>
            </a:r>
            <a:br>
              <a:rPr lang="de-DE" dirty="0"/>
            </a:br>
            <a:r>
              <a:rPr lang="de-DE" dirty="0" err="1"/>
              <a:t>voluptu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18226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71828D-7696-4F29-B8E3-BE43D658D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ordcloud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A109A94-D11C-4B3E-A153-AB860AD4A5B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48</a:t>
            </a:fld>
            <a:endParaRPr lang="de-DE" noProof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CFFD645-34A0-E001-FBAD-C9FE4660A0C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1D96B093-58DE-678D-0F8F-26BECB6AFBC4}"/>
              </a:ext>
            </a:extLst>
          </p:cNvPr>
          <p:cNvSpPr txBox="1">
            <a:spLocks/>
          </p:cNvSpPr>
          <p:nvPr/>
        </p:nvSpPr>
        <p:spPr>
          <a:xfrm>
            <a:off x="6384032" y="1844674"/>
            <a:ext cx="5399980" cy="4429126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5DC0164-ADF7-97B3-4C2C-AA3773E7F0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6040" y="2492896"/>
            <a:ext cx="864000" cy="864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48DCA59-6491-2381-9248-570FCBF60D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48624" y="5373312"/>
            <a:ext cx="864000" cy="8640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9E821D5-4E5A-5577-9BE4-75390895A860}"/>
              </a:ext>
            </a:extLst>
          </p:cNvPr>
          <p:cNvSpPr/>
          <p:nvPr/>
        </p:nvSpPr>
        <p:spPr>
          <a:xfrm>
            <a:off x="6424072" y="3573016"/>
            <a:ext cx="5319901" cy="934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spAutoFit/>
          </a:bodyPr>
          <a:lstStyle/>
          <a:p>
            <a:pPr algn="ctr"/>
            <a:r>
              <a:rPr lang="de-DE" sz="5600" dirty="0">
                <a:solidFill>
                  <a:schemeClr val="tx1"/>
                </a:solidFill>
                <a:latin typeface="+mj-lt"/>
              </a:rPr>
              <a:t>Nachhaltigkei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15C7F55-ACED-B754-4C8E-EB0C53195D87}"/>
              </a:ext>
            </a:extLst>
          </p:cNvPr>
          <p:cNvSpPr/>
          <p:nvPr/>
        </p:nvSpPr>
        <p:spPr>
          <a:xfrm>
            <a:off x="6600056" y="4757663"/>
            <a:ext cx="2701059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4000" dirty="0">
                <a:solidFill>
                  <a:schemeClr val="bg1"/>
                </a:solidFill>
              </a:rPr>
              <a:t>Kund*innen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6F09C615-E4F5-BE13-DD36-490FA7D012F3}"/>
              </a:ext>
            </a:extLst>
          </p:cNvPr>
          <p:cNvSpPr/>
          <p:nvPr/>
        </p:nvSpPr>
        <p:spPr>
          <a:xfrm>
            <a:off x="9480376" y="4467592"/>
            <a:ext cx="2049472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Erzeugungs-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lang="de-DE" sz="2800" dirty="0" err="1">
                <a:solidFill>
                  <a:schemeClr val="tx1">
                    <a:lumMod val="25000"/>
                    <a:lumOff val="75000"/>
                  </a:schemeClr>
                </a:solidFill>
              </a:rPr>
              <a:t>infrastruktur</a:t>
            </a:r>
            <a:endParaRPr lang="de-DE" sz="2800" dirty="0">
              <a:solidFill>
                <a:schemeClr val="tx1">
                  <a:lumMod val="25000"/>
                  <a:lumOff val="75000"/>
                </a:schemeClr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144F608-609E-B7CE-B43E-D53661D055CE}"/>
              </a:ext>
            </a:extLst>
          </p:cNvPr>
          <p:cNvSpPr/>
          <p:nvPr/>
        </p:nvSpPr>
        <p:spPr>
          <a:xfrm>
            <a:off x="7358361" y="2492896"/>
            <a:ext cx="2626071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Systemkritische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Infrastruktur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D2C20DC-C6A8-D9EF-9386-8F5C5FD047A7}"/>
              </a:ext>
            </a:extLst>
          </p:cNvPr>
          <p:cNvSpPr/>
          <p:nvPr/>
        </p:nvSpPr>
        <p:spPr>
          <a:xfrm>
            <a:off x="8574285" y="5303530"/>
            <a:ext cx="2274243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2800" dirty="0">
                <a:solidFill>
                  <a:schemeClr val="bg1"/>
                </a:solidFill>
              </a:rPr>
              <a:t>Intelligente</a:t>
            </a:r>
            <a:br>
              <a:rPr lang="de-DE" sz="2800" dirty="0">
                <a:solidFill>
                  <a:schemeClr val="bg1"/>
                </a:solidFill>
              </a:rPr>
            </a:br>
            <a:r>
              <a:rPr lang="de-DE" sz="2800" dirty="0">
                <a:solidFill>
                  <a:schemeClr val="bg1"/>
                </a:solidFill>
              </a:rPr>
              <a:t>Infrastruktur 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C4CDC28C-FBA4-366A-8216-FEA498522E45}"/>
              </a:ext>
            </a:extLst>
          </p:cNvPr>
          <p:cNvSpPr/>
          <p:nvPr/>
        </p:nvSpPr>
        <p:spPr>
          <a:xfrm>
            <a:off x="6600056" y="1886442"/>
            <a:ext cx="4544064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3600" dirty="0">
                <a:solidFill>
                  <a:schemeClr val="bg1"/>
                </a:solidFill>
              </a:rPr>
              <a:t>Erneuerbare Energien</a:t>
            </a:r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D79438E2-46D6-B6C8-8DED-C929DF2E0880}"/>
              </a:ext>
            </a:extLst>
          </p:cNvPr>
          <p:cNvSpPr txBox="1"/>
          <p:nvPr/>
        </p:nvSpPr>
        <p:spPr>
          <a:xfrm>
            <a:off x="6600056" y="5301208"/>
            <a:ext cx="1921956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sz="2800" dirty="0" err="1">
                <a:solidFill>
                  <a:schemeClr val="tx1">
                    <a:lumMod val="25000"/>
                    <a:lumOff val="75000"/>
                  </a:schemeClr>
                </a:solidFill>
              </a:rPr>
              <a:t>Erzeugung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&amp; Handel</a:t>
            </a:r>
          </a:p>
        </p:txBody>
      </p:sp>
      <p:sp>
        <p:nvSpPr>
          <p:cNvPr id="33" name="object 14">
            <a:extLst>
              <a:ext uri="{FF2B5EF4-FFF2-40B4-BE49-F238E27FC236}">
                <a16:creationId xmlns:a16="http://schemas.microsoft.com/office/drawing/2014/main" id="{15664104-A0E0-0CC5-7E25-391E96EACCF2}"/>
              </a:ext>
            </a:extLst>
          </p:cNvPr>
          <p:cNvSpPr txBox="1"/>
          <p:nvPr/>
        </p:nvSpPr>
        <p:spPr>
          <a:xfrm>
            <a:off x="6600056" y="4366265"/>
            <a:ext cx="2353310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Vertrieb</a:t>
            </a:r>
            <a:endParaRPr sz="2800" dirty="0">
              <a:solidFill>
                <a:schemeClr val="tx1">
                  <a:lumMod val="25000"/>
                  <a:lumOff val="75000"/>
                </a:schemeClr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DBE23281-4EC1-32F4-F955-C2BB097B41FB}"/>
              </a:ext>
            </a:extLst>
          </p:cNvPr>
          <p:cNvSpPr/>
          <p:nvPr/>
        </p:nvSpPr>
        <p:spPr>
          <a:xfrm>
            <a:off x="8184232" y="4365104"/>
            <a:ext cx="928139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2800" dirty="0">
                <a:solidFill>
                  <a:schemeClr val="bg1"/>
                </a:solidFill>
              </a:rPr>
              <a:t>Netze</a:t>
            </a:r>
          </a:p>
        </p:txBody>
      </p:sp>
      <p:sp>
        <p:nvSpPr>
          <p:cNvPr id="35" name="object 14">
            <a:extLst>
              <a:ext uri="{FF2B5EF4-FFF2-40B4-BE49-F238E27FC236}">
                <a16:creationId xmlns:a16="http://schemas.microsoft.com/office/drawing/2014/main" id="{CF32C29C-6A43-D67C-CABE-46D2297098EF}"/>
              </a:ext>
            </a:extLst>
          </p:cNvPr>
          <p:cNvSpPr txBox="1"/>
          <p:nvPr/>
        </p:nvSpPr>
        <p:spPr>
          <a:xfrm>
            <a:off x="8616280" y="3212976"/>
            <a:ext cx="2808312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sz="3600" dirty="0" err="1">
                <a:solidFill>
                  <a:schemeClr val="bg1"/>
                </a:solidFill>
              </a:rPr>
              <a:t>Lorem</a:t>
            </a:r>
            <a:r>
              <a:rPr lang="de-DE" sz="3600" dirty="0">
                <a:solidFill>
                  <a:schemeClr val="bg1"/>
                </a:solidFill>
              </a:rPr>
              <a:t> Ipsum</a:t>
            </a:r>
            <a:endParaRPr sz="3600" dirty="0">
              <a:solidFill>
                <a:schemeClr val="bg1"/>
              </a:solidFill>
            </a:endParaRPr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7AD6EDA0-418F-474C-9354-AB5ACAAEF58B}"/>
              </a:ext>
            </a:extLst>
          </p:cNvPr>
          <p:cNvSpPr txBox="1"/>
          <p:nvPr/>
        </p:nvSpPr>
        <p:spPr>
          <a:xfrm>
            <a:off x="6600056" y="3315464"/>
            <a:ext cx="2232248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de-DE" dirty="0" err="1"/>
              <a:t>Consetetur</a:t>
            </a:r>
            <a:endParaRPr dirty="0"/>
          </a:p>
        </p:txBody>
      </p:sp>
      <p:sp>
        <p:nvSpPr>
          <p:cNvPr id="37" name="object 14">
            <a:extLst>
              <a:ext uri="{FF2B5EF4-FFF2-40B4-BE49-F238E27FC236}">
                <a16:creationId xmlns:a16="http://schemas.microsoft.com/office/drawing/2014/main" id="{8BE20717-A74E-480F-5C27-7F54B30B7992}"/>
              </a:ext>
            </a:extLst>
          </p:cNvPr>
          <p:cNvSpPr txBox="1"/>
          <p:nvPr/>
        </p:nvSpPr>
        <p:spPr>
          <a:xfrm>
            <a:off x="9264352" y="2420888"/>
            <a:ext cx="2232248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 err="1"/>
              <a:t>diam</a:t>
            </a:r>
            <a:br>
              <a:rPr lang="de-DE" dirty="0"/>
            </a:br>
            <a:r>
              <a:rPr lang="de-DE" dirty="0" err="1"/>
              <a:t>voluptu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175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agramm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55391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6" name="Bildplatzhalter 5" descr="Ein Bild, das Person, Im Haus, Tisch, Esstisch enthält.&#10;&#10;Automatisch generierte Beschreibung">
            <a:extLst>
              <a:ext uri="{FF2B5EF4-FFF2-40B4-BE49-F238E27FC236}">
                <a16:creationId xmlns:a16="http://schemas.microsoft.com/office/drawing/2014/main" id="{A1963BC1-94D0-C865-9B2C-A0A751491BF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85824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äulen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50</a:t>
            </a:fld>
            <a:endParaRPr lang="de-DE" dirty="0"/>
          </a:p>
        </p:txBody>
      </p:sp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1BB94A2B-38D4-4C59-9374-337149359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0555314"/>
              </p:ext>
            </p:extLst>
          </p:nvPr>
        </p:nvGraphicFramePr>
        <p:xfrm>
          <a:off x="407989" y="2312876"/>
          <a:ext cx="11376024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866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1BB94A2B-38D4-4C59-9374-337149359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4712660"/>
              </p:ext>
            </p:extLst>
          </p:nvPr>
        </p:nvGraphicFramePr>
        <p:xfrm>
          <a:off x="407989" y="1880828"/>
          <a:ext cx="11376024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äulen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1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805639F-E7DF-4FAF-A225-57D18C0B6CF3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ACD6C0D-EAEF-4906-84E1-81E8BC6F75C3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355A1C8F-1C11-43E8-AFC5-7A84095DB6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56221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1BB94A2B-38D4-4C59-9374-337149359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4669567"/>
              </p:ext>
            </p:extLst>
          </p:nvPr>
        </p:nvGraphicFramePr>
        <p:xfrm>
          <a:off x="407989" y="1880828"/>
          <a:ext cx="5400674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äulendiagramm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B295D4B5-A94B-FE2B-DD63-24AF3027D731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A3B239F2-FFAB-4EF2-EF2B-C17300E05C5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</a:t>
            </a:r>
          </a:p>
          <a:p>
            <a:pPr lvl="2"/>
            <a:r>
              <a:rPr lang="de-DE" dirty="0"/>
              <a:t>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</a:t>
            </a:r>
          </a:p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52</a:t>
            </a:fld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805639F-E7DF-4FAF-A225-57D18C0B6CF3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ACD6C0D-EAEF-4906-84E1-81E8BC6F75C3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355A1C8F-1C11-43E8-AFC5-7A84095DB6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41257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äulendiagramm 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3</a:t>
            </a:fld>
            <a:endParaRPr lang="de-DE" dirty="0"/>
          </a:p>
        </p:txBody>
      </p:sp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1BB94A2B-38D4-4C59-9374-337149359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8607683"/>
              </p:ext>
            </p:extLst>
          </p:nvPr>
        </p:nvGraphicFramePr>
        <p:xfrm>
          <a:off x="407989" y="2312876"/>
          <a:ext cx="7415209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209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80F63F9-2191-4D25-BFB9-B1F94E70841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B053CE3-5EA1-4F9B-AC3C-1825D9B4F1A0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868422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lagerungs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4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8" name="Diagrammplatzhalter 9">
            <a:extLst>
              <a:ext uri="{FF2B5EF4-FFF2-40B4-BE49-F238E27FC236}">
                <a16:creationId xmlns:a16="http://schemas.microsoft.com/office/drawing/2014/main" id="{A7F09C5F-200F-4024-A29D-2E7D9A2A1AD1}"/>
              </a:ext>
            </a:extLst>
          </p:cNvPr>
          <p:cNvGraphicFramePr>
            <a:graphicFrameLocks/>
          </p:cNvGraphicFramePr>
          <p:nvPr/>
        </p:nvGraphicFramePr>
        <p:xfrm>
          <a:off x="407987" y="2637061"/>
          <a:ext cx="11376026" cy="3636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E7688B8-B471-483E-9E41-C509693275A2}"/>
              </a:ext>
            </a:extLst>
          </p:cNvPr>
          <p:cNvSpPr txBox="1">
            <a:spLocks/>
          </p:cNvSpPr>
          <p:nvPr/>
        </p:nvSpPr>
        <p:spPr>
          <a:xfrm>
            <a:off x="442913" y="2312876"/>
            <a:ext cx="536505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Achsenbeschriftung 1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0ABDF664-FE2A-4E1C-8A8B-7C90254B5B6E}"/>
              </a:ext>
            </a:extLst>
          </p:cNvPr>
          <p:cNvSpPr txBox="1">
            <a:spLocks/>
          </p:cNvSpPr>
          <p:nvPr/>
        </p:nvSpPr>
        <p:spPr>
          <a:xfrm>
            <a:off x="6418958" y="2312876"/>
            <a:ext cx="536505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de-DE" dirty="0"/>
              <a:t>Achsenbeschriftung 2</a:t>
            </a:r>
          </a:p>
        </p:txBody>
      </p:sp>
    </p:spTree>
    <p:extLst>
      <p:ext uri="{BB962C8B-B14F-4D97-AF65-F5344CB8AC3E}">
        <p14:creationId xmlns:p14="http://schemas.microsoft.com/office/powerpoint/2010/main" val="512901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lagerungsdiagramm</a:t>
            </a:r>
            <a:br>
              <a:rPr lang="de-DE" dirty="0"/>
            </a:br>
            <a:r>
              <a:rPr lang="de-DE" dirty="0"/>
              <a:t>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5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41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8" name="Diagrammplatzhalter 9">
            <a:extLst>
              <a:ext uri="{FF2B5EF4-FFF2-40B4-BE49-F238E27FC236}">
                <a16:creationId xmlns:a16="http://schemas.microsoft.com/office/drawing/2014/main" id="{A7F09C5F-200F-4024-A29D-2E7D9A2A1AD1}"/>
              </a:ext>
            </a:extLst>
          </p:cNvPr>
          <p:cNvGraphicFramePr>
            <a:graphicFrameLocks/>
          </p:cNvGraphicFramePr>
          <p:nvPr/>
        </p:nvGraphicFramePr>
        <p:xfrm>
          <a:off x="407987" y="2637061"/>
          <a:ext cx="7415411" cy="3636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E7688B8-B471-483E-9E41-C509693275A2}"/>
              </a:ext>
            </a:extLst>
          </p:cNvPr>
          <p:cNvSpPr txBox="1">
            <a:spLocks/>
          </p:cNvSpPr>
          <p:nvPr/>
        </p:nvSpPr>
        <p:spPr>
          <a:xfrm>
            <a:off x="442913" y="2312876"/>
            <a:ext cx="4031039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Achsenbeschriftung 1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0ABDF664-FE2A-4E1C-8A8B-7C90254B5B6E}"/>
              </a:ext>
            </a:extLst>
          </p:cNvPr>
          <p:cNvSpPr txBox="1">
            <a:spLocks/>
          </p:cNvSpPr>
          <p:nvPr/>
        </p:nvSpPr>
        <p:spPr>
          <a:xfrm>
            <a:off x="4943871" y="2312876"/>
            <a:ext cx="2914453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de-DE" dirty="0"/>
              <a:t>Achsenbeschriftung 2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B3B9A00B-AB2B-46C4-964D-3CFE9BC4B206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ABF13B3E-E4E8-486E-98A0-17B9AA9D2A12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96447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6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0B9B4D36-C643-48D4-8CA1-D518C749812B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11376026" cy="414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13575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7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0B9B4D36-C643-48D4-8CA1-D518C749812B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11376026" cy="3564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9C06AD3-9638-46CC-84FA-90DA2E85AA7E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8B04538C-93E1-448D-8EA9-C7BEDF743B4D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4306F54-2CD5-4618-AA0E-17A1E18473D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0349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</a:t>
            </a:r>
            <a:br>
              <a:rPr lang="de-DE" dirty="0"/>
            </a:br>
            <a:r>
              <a:rPr lang="de-DE" dirty="0"/>
              <a:t>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8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6801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0B9B4D36-C643-48D4-8CA1-D518C749812B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7416801" cy="414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5CF4A33-627F-4709-B980-187E3CEBA1B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7BD3AE2C-8DCF-4609-9863-C2D15ED91BB7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55518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 (fallend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9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8" name="Diagrammplatzhalter 13">
            <a:extLst>
              <a:ext uri="{FF2B5EF4-FFF2-40B4-BE49-F238E27FC236}">
                <a16:creationId xmlns:a16="http://schemas.microsoft.com/office/drawing/2014/main" id="{A907D7EA-0640-4560-AFB9-C1E8642B85EF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11376026" cy="396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1585654-00C9-409B-9701-88FC052C17B8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2ED4333E-BC07-40F3-9763-FEA4D00DE780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7CA867B7-D5F3-4AEB-B637-35008A2A37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984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6" name="Bildplatzhalter 5" descr="Ein Bild, das Person, Im Haus, Tisch, Esstisch enthält.&#10;&#10;Automatisch generierte Beschreibung">
            <a:extLst>
              <a:ext uri="{FF2B5EF4-FFF2-40B4-BE49-F238E27FC236}">
                <a16:creationId xmlns:a16="http://schemas.microsoft.com/office/drawing/2014/main" id="{71FDA4CE-953B-3DA1-62E1-984F162044B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42311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 (fallend)</a:t>
            </a:r>
            <a:br>
              <a:rPr lang="de-DE" dirty="0"/>
            </a:br>
            <a:r>
              <a:rPr lang="de-DE" dirty="0"/>
              <a:t>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0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6801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8" name="Diagrammplatzhalter 13">
            <a:extLst>
              <a:ext uri="{FF2B5EF4-FFF2-40B4-BE49-F238E27FC236}">
                <a16:creationId xmlns:a16="http://schemas.microsoft.com/office/drawing/2014/main" id="{A907D7EA-0640-4560-AFB9-C1E8642B85EF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7416801" cy="396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platzhalter 2">
            <a:extLst>
              <a:ext uri="{FF2B5EF4-FFF2-40B4-BE49-F238E27FC236}">
                <a16:creationId xmlns:a16="http://schemas.microsoft.com/office/drawing/2014/main" id="{DFA5A145-D5D7-4D3F-AE7D-BB55A52C483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AD06A61A-0E30-44AC-9048-C3B084D6124A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3564036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D5FF1EC-D447-4ACC-9564-4CF18772B09E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650C218E-7652-4548-9823-46BFD195294F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78FEEAD8-C603-445E-9B92-42C73DF62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5960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lken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1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BCE09D7E-6F09-46F0-B58E-0586117B2DDA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11376026" cy="396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2371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lkendiagramm 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2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6801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BCE09D7E-6F09-46F0-B58E-0586117B2DDA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7416801" cy="396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platzhalter 2">
            <a:extLst>
              <a:ext uri="{FF2B5EF4-FFF2-40B4-BE49-F238E27FC236}">
                <a16:creationId xmlns:a16="http://schemas.microsoft.com/office/drawing/2014/main" id="{81E44958-1509-4EE9-AC30-1B38D255A03D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59D8AF0-E52E-492D-B0E9-F7C614A1D1A2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64852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ien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3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408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10" name="Diagrammplatzhalter 13">
            <a:extLst>
              <a:ext uri="{FF2B5EF4-FFF2-40B4-BE49-F238E27FC236}">
                <a16:creationId xmlns:a16="http://schemas.microsoft.com/office/drawing/2014/main" id="{6BA232F7-5DFC-46AC-835B-AB00E99D9C41}"/>
              </a:ext>
            </a:extLst>
          </p:cNvPr>
          <p:cNvGraphicFramePr>
            <a:graphicFrameLocks/>
          </p:cNvGraphicFramePr>
          <p:nvPr/>
        </p:nvGraphicFramePr>
        <p:xfrm>
          <a:off x="407989" y="2312876"/>
          <a:ext cx="11376024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0578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iendiagramm 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4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408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80F63F9-2191-4D25-BFB9-B1F94E70841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B053CE3-5EA1-4F9B-AC3C-1825D9B4F1A0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0" name="Diagrammplatzhalter 13">
            <a:extLst>
              <a:ext uri="{FF2B5EF4-FFF2-40B4-BE49-F238E27FC236}">
                <a16:creationId xmlns:a16="http://schemas.microsoft.com/office/drawing/2014/main" id="{6BA232F7-5DFC-46AC-835B-AB00E99D9C41}"/>
              </a:ext>
            </a:extLst>
          </p:cNvPr>
          <p:cNvGraphicFramePr>
            <a:graphicFrameLocks/>
          </p:cNvGraphicFramePr>
          <p:nvPr/>
        </p:nvGraphicFramePr>
        <p:xfrm>
          <a:off x="407989" y="2312876"/>
          <a:ext cx="7415408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9307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wert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5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86332BF0-6F4F-420E-A3E3-2B3C948A2B5E}"/>
              </a:ext>
            </a:extLst>
          </p:cNvPr>
          <p:cNvGraphicFramePr>
            <a:graphicFrameLocks/>
          </p:cNvGraphicFramePr>
          <p:nvPr/>
        </p:nvGraphicFramePr>
        <p:xfrm>
          <a:off x="407986" y="2384867"/>
          <a:ext cx="11376027" cy="3888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8" name="Tabelle 38">
            <a:extLst>
              <a:ext uri="{FF2B5EF4-FFF2-40B4-BE49-F238E27FC236}">
                <a16:creationId xmlns:a16="http://schemas.microsoft.com/office/drawing/2014/main" id="{12850840-0463-4508-8DAF-BED5ACD76CEF}"/>
              </a:ext>
            </a:extLst>
          </p:cNvPr>
          <p:cNvGraphicFramePr>
            <a:graphicFrameLocks noGrp="1"/>
          </p:cNvGraphicFramePr>
          <p:nvPr/>
        </p:nvGraphicFramePr>
        <p:xfrm>
          <a:off x="407367" y="2384866"/>
          <a:ext cx="1459781" cy="29888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9781">
                  <a:extLst>
                    <a:ext uri="{9D8B030D-6E8A-4147-A177-3AD203B41FA5}">
                      <a16:colId xmlns:a16="http://schemas.microsoft.com/office/drawing/2014/main" val="1291365177"/>
                    </a:ext>
                  </a:extLst>
                </a:gridCol>
              </a:tblGrid>
              <a:tr h="426975"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Lorem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ipsum</a:t>
                      </a: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135993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373336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344575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1410422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30928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0642595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3977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768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wert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6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412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86332BF0-6F4F-420E-A3E3-2B3C948A2B5E}"/>
              </a:ext>
            </a:extLst>
          </p:cNvPr>
          <p:cNvGraphicFramePr>
            <a:graphicFrameLocks/>
          </p:cNvGraphicFramePr>
          <p:nvPr/>
        </p:nvGraphicFramePr>
        <p:xfrm>
          <a:off x="407986" y="2384867"/>
          <a:ext cx="7704139" cy="3888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8" name="Tabelle 38">
            <a:extLst>
              <a:ext uri="{FF2B5EF4-FFF2-40B4-BE49-F238E27FC236}">
                <a16:creationId xmlns:a16="http://schemas.microsoft.com/office/drawing/2014/main" id="{12850840-0463-4508-8DAF-BED5ACD76CEF}"/>
              </a:ext>
            </a:extLst>
          </p:cNvPr>
          <p:cNvGraphicFramePr>
            <a:graphicFrameLocks noGrp="1"/>
          </p:cNvGraphicFramePr>
          <p:nvPr/>
        </p:nvGraphicFramePr>
        <p:xfrm>
          <a:off x="407367" y="2384866"/>
          <a:ext cx="1459781" cy="29888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9781">
                  <a:extLst>
                    <a:ext uri="{9D8B030D-6E8A-4147-A177-3AD203B41FA5}">
                      <a16:colId xmlns:a16="http://schemas.microsoft.com/office/drawing/2014/main" val="1291365177"/>
                    </a:ext>
                  </a:extLst>
                </a:gridCol>
              </a:tblGrid>
              <a:tr h="426975"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Lorem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ipsum</a:t>
                      </a: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135993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373336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344575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1410422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30928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0642595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397786"/>
                  </a:ext>
                </a:extLst>
              </a:tr>
            </a:tbl>
          </a:graphicData>
        </a:graphic>
      </p:graphicFrame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98FB83F5-17EA-48D1-91FF-6EEB166C6030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3D65E74-CD06-49D0-8636-4EA78E7FDCEB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25206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AE1A80-9253-48BE-92C0-8BC74FF56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ei Kreisdiagramm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06D25D8-8E82-4B67-BFAE-7D14381CE1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5F8F71-E228-45A3-86FA-073D05B3D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7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CC47DF07-17A5-4CA6-A178-F16FE0F5C838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539998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F70C728D-AF48-46CF-82A8-3F11A61DE661}"/>
              </a:ext>
            </a:extLst>
          </p:cNvPr>
          <p:cNvSpPr txBox="1">
            <a:spLocks/>
          </p:cNvSpPr>
          <p:nvPr/>
        </p:nvSpPr>
        <p:spPr>
          <a:xfrm>
            <a:off x="6384032" y="1844675"/>
            <a:ext cx="539998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2C0E4FF9-64C3-40A0-ADF5-DBC28B2100B7}"/>
              </a:ext>
            </a:extLst>
          </p:cNvPr>
          <p:cNvSpPr txBox="1">
            <a:spLocks/>
          </p:cNvSpPr>
          <p:nvPr/>
        </p:nvSpPr>
        <p:spPr>
          <a:xfrm>
            <a:off x="6383338" y="5192712"/>
            <a:ext cx="5401468" cy="1081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F15B9578-CC74-4E02-8DF2-63C08A6056C3}"/>
              </a:ext>
            </a:extLst>
          </p:cNvPr>
          <p:cNvSpPr txBox="1">
            <a:spLocks/>
          </p:cNvSpPr>
          <p:nvPr/>
        </p:nvSpPr>
        <p:spPr>
          <a:xfrm>
            <a:off x="407987" y="5192712"/>
            <a:ext cx="5401468" cy="1081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graphicFrame>
        <p:nvGraphicFramePr>
          <p:cNvPr id="15" name="Inhaltsplatzhalter 8">
            <a:extLst>
              <a:ext uri="{FF2B5EF4-FFF2-40B4-BE49-F238E27FC236}">
                <a16:creationId xmlns:a16="http://schemas.microsoft.com/office/drawing/2014/main" id="{A1658FE2-2239-4013-80A8-5E3DD2F3E9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4131847"/>
              </p:ext>
            </p:extLst>
          </p:nvPr>
        </p:nvGraphicFramePr>
        <p:xfrm>
          <a:off x="407196" y="2312988"/>
          <a:ext cx="5401468" cy="261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Inhaltsplatzhalter 8">
            <a:extLst>
              <a:ext uri="{FF2B5EF4-FFF2-40B4-BE49-F238E27FC236}">
                <a16:creationId xmlns:a16="http://schemas.microsoft.com/office/drawing/2014/main" id="{CBF04F2A-08E1-414C-BDC4-D01495381D3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2275920"/>
              </p:ext>
            </p:extLst>
          </p:nvPr>
        </p:nvGraphicFramePr>
        <p:xfrm>
          <a:off x="6382544" y="2312876"/>
          <a:ext cx="5401468" cy="261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A4637E94-D21E-43F1-AF4D-79B663DB639A}"/>
              </a:ext>
            </a:extLst>
          </p:cNvPr>
          <p:cNvCxnSpPr>
            <a:cxnSpLocks/>
          </p:cNvCxnSpPr>
          <p:nvPr/>
        </p:nvCxnSpPr>
        <p:spPr>
          <a:xfrm>
            <a:off x="6095999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10109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AE1A80-9253-48BE-92C0-8BC74FF56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ei Kreisdiagramm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06D25D8-8E82-4B67-BFAE-7D14381CE1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5F8F71-E228-45A3-86FA-073D05B3D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8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CC47DF07-17A5-4CA6-A178-F16FE0F5C838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539998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F70C728D-AF48-46CF-82A8-3F11A61DE661}"/>
              </a:ext>
            </a:extLst>
          </p:cNvPr>
          <p:cNvSpPr txBox="1">
            <a:spLocks/>
          </p:cNvSpPr>
          <p:nvPr/>
        </p:nvSpPr>
        <p:spPr>
          <a:xfrm>
            <a:off x="6384032" y="1844675"/>
            <a:ext cx="539998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15" name="Inhaltsplatzhalter 8">
            <a:extLst>
              <a:ext uri="{FF2B5EF4-FFF2-40B4-BE49-F238E27FC236}">
                <a16:creationId xmlns:a16="http://schemas.microsoft.com/office/drawing/2014/main" id="{A1658FE2-2239-4013-80A8-5E3DD2F3E948}"/>
              </a:ext>
            </a:extLst>
          </p:cNvPr>
          <p:cNvGraphicFramePr>
            <a:graphicFrameLocks/>
          </p:cNvGraphicFramePr>
          <p:nvPr/>
        </p:nvGraphicFramePr>
        <p:xfrm>
          <a:off x="407196" y="2312988"/>
          <a:ext cx="5401468" cy="261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Inhaltsplatzhalter 8">
            <a:extLst>
              <a:ext uri="{FF2B5EF4-FFF2-40B4-BE49-F238E27FC236}">
                <a16:creationId xmlns:a16="http://schemas.microsoft.com/office/drawing/2014/main" id="{CBF04F2A-08E1-414C-BDC4-D01495381D3D}"/>
              </a:ext>
            </a:extLst>
          </p:cNvPr>
          <p:cNvGraphicFramePr>
            <a:graphicFrameLocks/>
          </p:cNvGraphicFramePr>
          <p:nvPr/>
        </p:nvGraphicFramePr>
        <p:xfrm>
          <a:off x="6382544" y="2312876"/>
          <a:ext cx="5401468" cy="261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949FE9B-4A6E-38A6-6D1F-FADD0E9C5DB7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903A6FDE-F1B2-6F4A-B75E-638D2E234938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FFC7D158-2860-3C24-E976-E59CE78805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5F4A80-1747-F9A4-1F79-C246458F9F8B}"/>
              </a:ext>
            </a:extLst>
          </p:cNvPr>
          <p:cNvCxnSpPr>
            <a:cxnSpLocks/>
          </p:cNvCxnSpPr>
          <p:nvPr/>
        </p:nvCxnSpPr>
        <p:spPr>
          <a:xfrm>
            <a:off x="6095999" y="1881188"/>
            <a:ext cx="0" cy="33480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16574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bell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313718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6" name="Bildplatzhalter 5" descr="Ein Bild, das Person, Im Haus, Tisch, Esstisch enthält.&#10;&#10;Automatisch generierte Beschreibung">
            <a:extLst>
              <a:ext uri="{FF2B5EF4-FFF2-40B4-BE49-F238E27FC236}">
                <a16:creationId xmlns:a16="http://schemas.microsoft.com/office/drawing/2014/main" id="{06C864E2-7BDE-229D-D6DC-0CF33E8B470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61743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102EC5-A143-0D49-BB9C-29A932E8C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abelle</a:t>
            </a:r>
            <a:r>
              <a:rPr lang="en-US" dirty="0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0ACA45-C53A-0E49-BFD3-B1B13855F2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568DE56-70F2-1641-BAD1-65F99C680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70</a:t>
            </a:fld>
            <a:endParaRPr lang="en-GB" dirty="0"/>
          </a:p>
        </p:txBody>
      </p:sp>
      <p:graphicFrame>
        <p:nvGraphicFramePr>
          <p:cNvPr id="9" name="Content Placeholder 7">
            <a:extLst>
              <a:ext uri="{FF2B5EF4-FFF2-40B4-BE49-F238E27FC236}">
                <a16:creationId xmlns:a16="http://schemas.microsoft.com/office/drawing/2014/main" id="{35AB7DDB-6682-4F10-8723-31C9CE596C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6764786"/>
              </p:ext>
            </p:extLst>
          </p:nvPr>
        </p:nvGraphicFramePr>
        <p:xfrm>
          <a:off x="407989" y="1844675"/>
          <a:ext cx="11376024" cy="40699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896004">
                  <a:extLst>
                    <a:ext uri="{9D8B030D-6E8A-4147-A177-3AD203B41FA5}">
                      <a16:colId xmlns:a16="http://schemas.microsoft.com/office/drawing/2014/main" val="1872809756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3344000040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600" b="0" cap="none" spc="0" baseline="0" dirty="0" err="1">
                          <a:solidFill>
                            <a:schemeClr val="tx1"/>
                          </a:solidFill>
                          <a:latin typeface="+mj-lt"/>
                        </a:rPr>
                        <a:t>Überschrift</a:t>
                      </a:r>
                      <a:endParaRPr lang="en-US" sz="1600" b="0" cap="none" spc="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13480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600" b="0" spc="0" dirty="0" err="1">
                          <a:solidFill>
                            <a:schemeClr val="tx1"/>
                          </a:solidFill>
                          <a:latin typeface="+mn-lt"/>
                        </a:rPr>
                        <a:t>Beschreibung</a:t>
                      </a:r>
                      <a:endParaRPr lang="en-US" sz="1600" b="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70261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74129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6410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04271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735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06886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65553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82478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7141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102EC5-A143-0D49-BB9C-29A932E8C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ostentabelle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2C8AB27-7ACB-B84E-B640-34A228CE17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F7CA57D-0CD4-5540-862A-066B86D39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71</a:t>
            </a:fld>
            <a:endParaRPr lang="en-GB" dirty="0"/>
          </a:p>
        </p:txBody>
      </p:sp>
      <p:graphicFrame>
        <p:nvGraphicFramePr>
          <p:cNvPr id="11" name="Content Placeholder 7">
            <a:extLst>
              <a:ext uri="{FF2B5EF4-FFF2-40B4-BE49-F238E27FC236}">
                <a16:creationId xmlns:a16="http://schemas.microsoft.com/office/drawing/2014/main" id="{F82031D4-B34B-4DB6-822F-9F7EE9DFEC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8945402"/>
              </p:ext>
            </p:extLst>
          </p:nvPr>
        </p:nvGraphicFramePr>
        <p:xfrm>
          <a:off x="407987" y="1844675"/>
          <a:ext cx="11376025" cy="28065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008582">
                  <a:extLst>
                    <a:ext uri="{9D8B030D-6E8A-4147-A177-3AD203B41FA5}">
                      <a16:colId xmlns:a16="http://schemas.microsoft.com/office/drawing/2014/main" val="1872809756"/>
                    </a:ext>
                  </a:extLst>
                </a:gridCol>
                <a:gridCol w="2367443">
                  <a:extLst>
                    <a:ext uri="{9D8B030D-6E8A-4147-A177-3AD203B41FA5}">
                      <a16:colId xmlns:a16="http://schemas.microsoft.com/office/drawing/2014/main" val="334400004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600" b="0" cap="none" spc="0" baseline="0" dirty="0" err="1">
                          <a:solidFill>
                            <a:schemeClr val="tx1"/>
                          </a:solidFill>
                          <a:latin typeface="+mj-lt"/>
                        </a:rPr>
                        <a:t>Erster</a:t>
                      </a:r>
                      <a:r>
                        <a:rPr lang="en-US" sz="1600" b="0" cap="none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r>
                        <a:rPr lang="en-US" sz="1600" b="0" cap="none" spc="0" baseline="0" dirty="0" err="1">
                          <a:solidFill>
                            <a:schemeClr val="tx1"/>
                          </a:solidFill>
                          <a:latin typeface="+mj-lt"/>
                        </a:rPr>
                        <a:t>Kostenpunkt</a:t>
                      </a:r>
                      <a:endParaRPr lang="en-US" sz="1600" b="0" cap="none" spc="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36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cap="all" spc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36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13480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70261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74129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6410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b="0" cap="none" spc="0" baseline="0" dirty="0" err="1">
                          <a:solidFill>
                            <a:schemeClr val="tx1"/>
                          </a:solidFill>
                          <a:latin typeface="+mj-lt"/>
                        </a:rPr>
                        <a:t>Zweiter</a:t>
                      </a:r>
                      <a:r>
                        <a:rPr lang="en-US" sz="1600" b="0" cap="none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r>
                        <a:rPr lang="en-US" sz="1600" b="0" cap="none" spc="0" baseline="0" dirty="0" err="1">
                          <a:solidFill>
                            <a:schemeClr val="tx1"/>
                          </a:solidFill>
                          <a:latin typeface="+mj-lt"/>
                        </a:rPr>
                        <a:t>Kostenpunkt</a:t>
                      </a:r>
                      <a:endParaRPr lang="en-US" sz="1600" b="0" cap="none" spc="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cap="all" spc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04271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735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06886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655536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b="0" cap="none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Total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b="1" cap="all" spc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0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82478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0676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e und</a:t>
            </a:r>
            <a:br>
              <a:rPr lang="de-DE" dirty="0"/>
            </a:br>
            <a:r>
              <a:rPr lang="de-DE" dirty="0"/>
              <a:t>Projektplä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5962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C4C2-B6C4-4CB6-AA2B-8040D0D8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– fünf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1F5F83-EB12-4F27-A0E0-CB1AE12AC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A76F37-E0B6-4113-A55D-59524F94B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3</a:t>
            </a:fld>
            <a:endParaRPr lang="de-DE" dirty="0"/>
          </a:p>
        </p:txBody>
      </p:sp>
      <p:sp>
        <p:nvSpPr>
          <p:cNvPr id="19" name="Pfeil: Fünfeck 18">
            <a:extLst>
              <a:ext uri="{FF2B5EF4-FFF2-40B4-BE49-F238E27FC236}">
                <a16:creationId xmlns:a16="http://schemas.microsoft.com/office/drawing/2014/main" id="{5AD120B9-AB20-48EE-824A-1612033D45B5}"/>
              </a:ext>
            </a:extLst>
          </p:cNvPr>
          <p:cNvSpPr/>
          <p:nvPr/>
        </p:nvSpPr>
        <p:spPr>
          <a:xfrm>
            <a:off x="407367" y="1880828"/>
            <a:ext cx="2304000" cy="576783"/>
          </a:xfrm>
          <a:prstGeom prst="homePlate">
            <a:avLst>
              <a:gd name="adj" fmla="val 3238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0" name="Pfeil: Chevron 19">
            <a:extLst>
              <a:ext uri="{FF2B5EF4-FFF2-40B4-BE49-F238E27FC236}">
                <a16:creationId xmlns:a16="http://schemas.microsoft.com/office/drawing/2014/main" id="{A2895461-E559-4EB9-B126-594046EBF16B}"/>
              </a:ext>
            </a:extLst>
          </p:cNvPr>
          <p:cNvSpPr/>
          <p:nvPr/>
        </p:nvSpPr>
        <p:spPr>
          <a:xfrm>
            <a:off x="2675619" y="188082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sp>
        <p:nvSpPr>
          <p:cNvPr id="21" name="Pfeil: Chevron 20">
            <a:extLst>
              <a:ext uri="{FF2B5EF4-FFF2-40B4-BE49-F238E27FC236}">
                <a16:creationId xmlns:a16="http://schemas.microsoft.com/office/drawing/2014/main" id="{FC1D9287-C5C7-4B51-99EE-11BF45F3DACE}"/>
              </a:ext>
            </a:extLst>
          </p:cNvPr>
          <p:cNvSpPr/>
          <p:nvPr/>
        </p:nvSpPr>
        <p:spPr>
          <a:xfrm>
            <a:off x="4943871" y="188082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bg2"/>
          </a:solidFill>
          <a:ln w="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2" name="Pfeil: Chevron 21">
            <a:extLst>
              <a:ext uri="{FF2B5EF4-FFF2-40B4-BE49-F238E27FC236}">
                <a16:creationId xmlns:a16="http://schemas.microsoft.com/office/drawing/2014/main" id="{86BD9E08-5928-47DB-900D-B8473F91D4F0}"/>
              </a:ext>
            </a:extLst>
          </p:cNvPr>
          <p:cNvSpPr/>
          <p:nvPr/>
        </p:nvSpPr>
        <p:spPr>
          <a:xfrm>
            <a:off x="7212123" y="188082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3" name="Pfeil: Chevron 22">
            <a:extLst>
              <a:ext uri="{FF2B5EF4-FFF2-40B4-BE49-F238E27FC236}">
                <a16:creationId xmlns:a16="http://schemas.microsoft.com/office/drawing/2014/main" id="{56C5F789-A49A-4916-81CA-8D044FDEC207}"/>
              </a:ext>
            </a:extLst>
          </p:cNvPr>
          <p:cNvSpPr/>
          <p:nvPr/>
        </p:nvSpPr>
        <p:spPr>
          <a:xfrm>
            <a:off x="9480376" y="188082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EF58699E-5EEE-4AC6-BF62-D42EAD81DE29}"/>
              </a:ext>
            </a:extLst>
          </p:cNvPr>
          <p:cNvCxnSpPr>
            <a:cxnSpLocks/>
          </p:cNvCxnSpPr>
          <p:nvPr/>
        </p:nvCxnSpPr>
        <p:spPr>
          <a:xfrm>
            <a:off x="2609962" y="2853304"/>
            <a:ext cx="0" cy="342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E5FF8AE8-78B8-4477-9879-DBEBF0CFC7D9}"/>
              </a:ext>
            </a:extLst>
          </p:cNvPr>
          <p:cNvCxnSpPr>
            <a:cxnSpLocks/>
          </p:cNvCxnSpPr>
          <p:nvPr/>
        </p:nvCxnSpPr>
        <p:spPr>
          <a:xfrm>
            <a:off x="4876097" y="2853304"/>
            <a:ext cx="0" cy="342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21AF5BD5-6908-43D7-AA83-88B8EF957A3C}"/>
              </a:ext>
            </a:extLst>
          </p:cNvPr>
          <p:cNvCxnSpPr>
            <a:cxnSpLocks/>
          </p:cNvCxnSpPr>
          <p:nvPr/>
        </p:nvCxnSpPr>
        <p:spPr>
          <a:xfrm>
            <a:off x="7142232" y="2853304"/>
            <a:ext cx="0" cy="342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1C37039-2C87-4FD6-9128-CC2E1AD42660}"/>
              </a:ext>
            </a:extLst>
          </p:cNvPr>
          <p:cNvCxnSpPr>
            <a:cxnSpLocks/>
          </p:cNvCxnSpPr>
          <p:nvPr/>
        </p:nvCxnSpPr>
        <p:spPr>
          <a:xfrm>
            <a:off x="9408368" y="2853304"/>
            <a:ext cx="0" cy="342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56C32971-F1C6-4963-B725-4CA1052E57DE}"/>
              </a:ext>
            </a:extLst>
          </p:cNvPr>
          <p:cNvSpPr txBox="1">
            <a:spLocks/>
          </p:cNvSpPr>
          <p:nvPr/>
        </p:nvSpPr>
        <p:spPr>
          <a:xfrm>
            <a:off x="407988" y="2853304"/>
            <a:ext cx="212361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51393D7-FE8F-4E1F-943D-847C4EE9981F}"/>
              </a:ext>
            </a:extLst>
          </p:cNvPr>
          <p:cNvSpPr txBox="1">
            <a:spLocks/>
          </p:cNvSpPr>
          <p:nvPr/>
        </p:nvSpPr>
        <p:spPr>
          <a:xfrm>
            <a:off x="2675619" y="2853304"/>
            <a:ext cx="212361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79E2CBF-3DDF-48D6-A03F-243782D438D7}"/>
              </a:ext>
            </a:extLst>
          </p:cNvPr>
          <p:cNvSpPr txBox="1">
            <a:spLocks/>
          </p:cNvSpPr>
          <p:nvPr/>
        </p:nvSpPr>
        <p:spPr>
          <a:xfrm>
            <a:off x="4943871" y="2853304"/>
            <a:ext cx="212361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0C4B14C6-CC9E-43C6-BECE-B7014A587E7A}"/>
              </a:ext>
            </a:extLst>
          </p:cNvPr>
          <p:cNvSpPr txBox="1">
            <a:spLocks/>
          </p:cNvSpPr>
          <p:nvPr/>
        </p:nvSpPr>
        <p:spPr>
          <a:xfrm>
            <a:off x="7212123" y="2853304"/>
            <a:ext cx="212361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2C44142-31B7-490B-A7C3-F9EE670A8EB5}"/>
              </a:ext>
            </a:extLst>
          </p:cNvPr>
          <p:cNvSpPr txBox="1">
            <a:spLocks/>
          </p:cNvSpPr>
          <p:nvPr/>
        </p:nvSpPr>
        <p:spPr>
          <a:xfrm>
            <a:off x="9480376" y="2853304"/>
            <a:ext cx="212423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677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C4C2-B6C4-4CB6-AA2B-8040D0D8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– fünf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1F5F83-EB12-4F27-A0E0-CB1AE12AC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A76F37-E0B6-4113-A55D-59524F94B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4</a:t>
            </a:fld>
            <a:endParaRPr lang="de-DE" dirty="0"/>
          </a:p>
        </p:txBody>
      </p:sp>
      <p:sp>
        <p:nvSpPr>
          <p:cNvPr id="19" name="Pfeil: Fünfeck 18">
            <a:extLst>
              <a:ext uri="{FF2B5EF4-FFF2-40B4-BE49-F238E27FC236}">
                <a16:creationId xmlns:a16="http://schemas.microsoft.com/office/drawing/2014/main" id="{5AD120B9-AB20-48EE-824A-1612033D45B5}"/>
              </a:ext>
            </a:extLst>
          </p:cNvPr>
          <p:cNvSpPr/>
          <p:nvPr/>
        </p:nvSpPr>
        <p:spPr>
          <a:xfrm>
            <a:off x="407367" y="2600189"/>
            <a:ext cx="2304000" cy="576783"/>
          </a:xfrm>
          <a:prstGeom prst="homePlate">
            <a:avLst>
              <a:gd name="adj" fmla="val 3238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0" name="Pfeil: Chevron 19">
            <a:extLst>
              <a:ext uri="{FF2B5EF4-FFF2-40B4-BE49-F238E27FC236}">
                <a16:creationId xmlns:a16="http://schemas.microsoft.com/office/drawing/2014/main" id="{A2895461-E559-4EB9-B126-594046EBF16B}"/>
              </a:ext>
            </a:extLst>
          </p:cNvPr>
          <p:cNvSpPr/>
          <p:nvPr/>
        </p:nvSpPr>
        <p:spPr>
          <a:xfrm>
            <a:off x="2675619" y="2600189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sp>
        <p:nvSpPr>
          <p:cNvPr id="21" name="Pfeil: Chevron 20">
            <a:extLst>
              <a:ext uri="{FF2B5EF4-FFF2-40B4-BE49-F238E27FC236}">
                <a16:creationId xmlns:a16="http://schemas.microsoft.com/office/drawing/2014/main" id="{FC1D9287-C5C7-4B51-99EE-11BF45F3DACE}"/>
              </a:ext>
            </a:extLst>
          </p:cNvPr>
          <p:cNvSpPr/>
          <p:nvPr/>
        </p:nvSpPr>
        <p:spPr>
          <a:xfrm>
            <a:off x="4943871" y="2600189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bg2"/>
          </a:solidFill>
          <a:ln w="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2" name="Pfeil: Chevron 21">
            <a:extLst>
              <a:ext uri="{FF2B5EF4-FFF2-40B4-BE49-F238E27FC236}">
                <a16:creationId xmlns:a16="http://schemas.microsoft.com/office/drawing/2014/main" id="{86BD9E08-5928-47DB-900D-B8473F91D4F0}"/>
              </a:ext>
            </a:extLst>
          </p:cNvPr>
          <p:cNvSpPr/>
          <p:nvPr/>
        </p:nvSpPr>
        <p:spPr>
          <a:xfrm>
            <a:off x="7212123" y="2600189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3" name="Pfeil: Chevron 22">
            <a:extLst>
              <a:ext uri="{FF2B5EF4-FFF2-40B4-BE49-F238E27FC236}">
                <a16:creationId xmlns:a16="http://schemas.microsoft.com/office/drawing/2014/main" id="{56C5F789-A49A-4916-81CA-8D044FDEC207}"/>
              </a:ext>
            </a:extLst>
          </p:cNvPr>
          <p:cNvSpPr/>
          <p:nvPr/>
        </p:nvSpPr>
        <p:spPr>
          <a:xfrm>
            <a:off x="9480376" y="2600189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6833748-3746-42BC-8402-717BA988C30C}"/>
              </a:ext>
            </a:extLst>
          </p:cNvPr>
          <p:cNvGrpSpPr/>
          <p:nvPr/>
        </p:nvGrpSpPr>
        <p:grpSpPr>
          <a:xfrm>
            <a:off x="2609962" y="3320988"/>
            <a:ext cx="6798406" cy="2952316"/>
            <a:chOff x="2609962" y="2853304"/>
            <a:chExt cx="6798406" cy="3420000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EF58699E-5EEE-4AC6-BF62-D42EAD81DE29}"/>
                </a:ext>
              </a:extLst>
            </p:cNvPr>
            <p:cNvCxnSpPr>
              <a:cxnSpLocks/>
            </p:cNvCxnSpPr>
            <p:nvPr/>
          </p:nvCxnSpPr>
          <p:spPr>
            <a:xfrm>
              <a:off x="2609962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E5FF8AE8-78B8-4477-9879-DBEBF0CFC7D9}"/>
                </a:ext>
              </a:extLst>
            </p:cNvPr>
            <p:cNvCxnSpPr>
              <a:cxnSpLocks/>
            </p:cNvCxnSpPr>
            <p:nvPr/>
          </p:nvCxnSpPr>
          <p:spPr>
            <a:xfrm>
              <a:off x="4876097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1AF5BD5-6908-43D7-AA83-88B8EF957A3C}"/>
                </a:ext>
              </a:extLst>
            </p:cNvPr>
            <p:cNvCxnSpPr>
              <a:cxnSpLocks/>
            </p:cNvCxnSpPr>
            <p:nvPr/>
          </p:nvCxnSpPr>
          <p:spPr>
            <a:xfrm>
              <a:off x="7142232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61C37039-2C87-4FD6-9128-CC2E1AD42660}"/>
                </a:ext>
              </a:extLst>
            </p:cNvPr>
            <p:cNvCxnSpPr>
              <a:cxnSpLocks/>
            </p:cNvCxnSpPr>
            <p:nvPr/>
          </p:nvCxnSpPr>
          <p:spPr>
            <a:xfrm>
              <a:off x="9408368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56C32971-F1C6-4963-B725-4CA1052E57DE}"/>
              </a:ext>
            </a:extLst>
          </p:cNvPr>
          <p:cNvSpPr txBox="1">
            <a:spLocks/>
          </p:cNvSpPr>
          <p:nvPr/>
        </p:nvSpPr>
        <p:spPr>
          <a:xfrm>
            <a:off x="407988" y="3320988"/>
            <a:ext cx="212361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51393D7-FE8F-4E1F-943D-847C4EE9981F}"/>
              </a:ext>
            </a:extLst>
          </p:cNvPr>
          <p:cNvSpPr txBox="1">
            <a:spLocks/>
          </p:cNvSpPr>
          <p:nvPr/>
        </p:nvSpPr>
        <p:spPr>
          <a:xfrm>
            <a:off x="2675619" y="3320988"/>
            <a:ext cx="212361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79E2CBF-3DDF-48D6-A03F-243782D438D7}"/>
              </a:ext>
            </a:extLst>
          </p:cNvPr>
          <p:cNvSpPr txBox="1">
            <a:spLocks/>
          </p:cNvSpPr>
          <p:nvPr/>
        </p:nvSpPr>
        <p:spPr>
          <a:xfrm>
            <a:off x="4943871" y="3320988"/>
            <a:ext cx="212361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0C4B14C6-CC9E-43C6-BECE-B7014A587E7A}"/>
              </a:ext>
            </a:extLst>
          </p:cNvPr>
          <p:cNvSpPr txBox="1">
            <a:spLocks/>
          </p:cNvSpPr>
          <p:nvPr/>
        </p:nvSpPr>
        <p:spPr>
          <a:xfrm>
            <a:off x="7212123" y="3320988"/>
            <a:ext cx="212361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2C44142-31B7-490B-A7C3-F9EE670A8EB5}"/>
              </a:ext>
            </a:extLst>
          </p:cNvPr>
          <p:cNvSpPr txBox="1">
            <a:spLocks/>
          </p:cNvSpPr>
          <p:nvPr/>
        </p:nvSpPr>
        <p:spPr>
          <a:xfrm>
            <a:off x="9480376" y="3320988"/>
            <a:ext cx="212423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5AD7554E-C482-41C6-9C2B-D57F4B57AB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43871" y="1844824"/>
            <a:ext cx="698238" cy="698238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2AE7B00A-4671-4DC5-98D5-C4D453F466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12123" y="1844824"/>
            <a:ext cx="698238" cy="698238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BDB7A186-DEE2-4284-BADA-B2BD9F1CBF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480376" y="1844824"/>
            <a:ext cx="698238" cy="69823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D5FA401-F799-B80A-D747-E4A03E82FA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3352" y="1886846"/>
            <a:ext cx="698400" cy="6984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A3DCFED-F9D6-D295-3E49-DF58FA7211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663887" y="1844824"/>
            <a:ext cx="698238" cy="698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391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C4C2-B6C4-4CB6-AA2B-8040D0D8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– fünf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1F5F83-EB12-4F27-A0E0-CB1AE12AC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A76F37-E0B6-4113-A55D-59524F94B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5</a:t>
            </a:fld>
            <a:endParaRPr lang="de-DE" dirty="0"/>
          </a:p>
        </p:txBody>
      </p:sp>
      <p:sp>
        <p:nvSpPr>
          <p:cNvPr id="19" name="Pfeil: Fünfeck 18">
            <a:extLst>
              <a:ext uri="{FF2B5EF4-FFF2-40B4-BE49-F238E27FC236}">
                <a16:creationId xmlns:a16="http://schemas.microsoft.com/office/drawing/2014/main" id="{5AD120B9-AB20-48EE-824A-1612033D45B5}"/>
              </a:ext>
            </a:extLst>
          </p:cNvPr>
          <p:cNvSpPr/>
          <p:nvPr/>
        </p:nvSpPr>
        <p:spPr>
          <a:xfrm>
            <a:off x="407367" y="2853548"/>
            <a:ext cx="2304000" cy="576783"/>
          </a:xfrm>
          <a:prstGeom prst="homePlate">
            <a:avLst>
              <a:gd name="adj" fmla="val 3238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0" name="Pfeil: Chevron 19">
            <a:extLst>
              <a:ext uri="{FF2B5EF4-FFF2-40B4-BE49-F238E27FC236}">
                <a16:creationId xmlns:a16="http://schemas.microsoft.com/office/drawing/2014/main" id="{A2895461-E559-4EB9-B126-594046EBF16B}"/>
              </a:ext>
            </a:extLst>
          </p:cNvPr>
          <p:cNvSpPr/>
          <p:nvPr/>
        </p:nvSpPr>
        <p:spPr>
          <a:xfrm>
            <a:off x="2675619" y="285354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sp>
        <p:nvSpPr>
          <p:cNvPr id="21" name="Pfeil: Chevron 20">
            <a:extLst>
              <a:ext uri="{FF2B5EF4-FFF2-40B4-BE49-F238E27FC236}">
                <a16:creationId xmlns:a16="http://schemas.microsoft.com/office/drawing/2014/main" id="{FC1D9287-C5C7-4B51-99EE-11BF45F3DACE}"/>
              </a:ext>
            </a:extLst>
          </p:cNvPr>
          <p:cNvSpPr/>
          <p:nvPr/>
        </p:nvSpPr>
        <p:spPr>
          <a:xfrm>
            <a:off x="4943871" y="285354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bg2"/>
          </a:solidFill>
          <a:ln w="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2" name="Pfeil: Chevron 21">
            <a:extLst>
              <a:ext uri="{FF2B5EF4-FFF2-40B4-BE49-F238E27FC236}">
                <a16:creationId xmlns:a16="http://schemas.microsoft.com/office/drawing/2014/main" id="{86BD9E08-5928-47DB-900D-B8473F91D4F0}"/>
              </a:ext>
            </a:extLst>
          </p:cNvPr>
          <p:cNvSpPr/>
          <p:nvPr/>
        </p:nvSpPr>
        <p:spPr>
          <a:xfrm>
            <a:off x="7212123" y="285354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3" name="Pfeil: Chevron 22">
            <a:extLst>
              <a:ext uri="{FF2B5EF4-FFF2-40B4-BE49-F238E27FC236}">
                <a16:creationId xmlns:a16="http://schemas.microsoft.com/office/drawing/2014/main" id="{56C5F789-A49A-4916-81CA-8D044FDEC207}"/>
              </a:ext>
            </a:extLst>
          </p:cNvPr>
          <p:cNvSpPr/>
          <p:nvPr/>
        </p:nvSpPr>
        <p:spPr>
          <a:xfrm>
            <a:off x="9480376" y="285354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C80DD9A-9ABD-4604-B884-605CB84D9874}"/>
              </a:ext>
            </a:extLst>
          </p:cNvPr>
          <p:cNvGrpSpPr/>
          <p:nvPr/>
        </p:nvGrpSpPr>
        <p:grpSpPr>
          <a:xfrm>
            <a:off x="2609962" y="3537392"/>
            <a:ext cx="6798406" cy="2736408"/>
            <a:chOff x="2609962" y="3537392"/>
            <a:chExt cx="6798406" cy="3420000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EF58699E-5EEE-4AC6-BF62-D42EAD81DE29}"/>
                </a:ext>
              </a:extLst>
            </p:cNvPr>
            <p:cNvCxnSpPr>
              <a:cxnSpLocks/>
            </p:cNvCxnSpPr>
            <p:nvPr/>
          </p:nvCxnSpPr>
          <p:spPr>
            <a:xfrm>
              <a:off x="2609962" y="3537392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E5FF8AE8-78B8-4477-9879-DBEBF0CFC7D9}"/>
                </a:ext>
              </a:extLst>
            </p:cNvPr>
            <p:cNvCxnSpPr>
              <a:cxnSpLocks/>
            </p:cNvCxnSpPr>
            <p:nvPr/>
          </p:nvCxnSpPr>
          <p:spPr>
            <a:xfrm>
              <a:off x="4876097" y="3537392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1AF5BD5-6908-43D7-AA83-88B8EF957A3C}"/>
                </a:ext>
              </a:extLst>
            </p:cNvPr>
            <p:cNvCxnSpPr>
              <a:cxnSpLocks/>
            </p:cNvCxnSpPr>
            <p:nvPr/>
          </p:nvCxnSpPr>
          <p:spPr>
            <a:xfrm>
              <a:off x="7142232" y="3537392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61C37039-2C87-4FD6-9128-CC2E1AD42660}"/>
                </a:ext>
              </a:extLst>
            </p:cNvPr>
            <p:cNvCxnSpPr>
              <a:cxnSpLocks/>
            </p:cNvCxnSpPr>
            <p:nvPr/>
          </p:nvCxnSpPr>
          <p:spPr>
            <a:xfrm>
              <a:off x="9408368" y="3537392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56C32971-F1C6-4963-B725-4CA1052E57DE}"/>
              </a:ext>
            </a:extLst>
          </p:cNvPr>
          <p:cNvSpPr txBox="1">
            <a:spLocks/>
          </p:cNvSpPr>
          <p:nvPr/>
        </p:nvSpPr>
        <p:spPr>
          <a:xfrm>
            <a:off x="407988" y="3537392"/>
            <a:ext cx="212361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51393D7-FE8F-4E1F-943D-847C4EE9981F}"/>
              </a:ext>
            </a:extLst>
          </p:cNvPr>
          <p:cNvSpPr txBox="1">
            <a:spLocks/>
          </p:cNvSpPr>
          <p:nvPr/>
        </p:nvSpPr>
        <p:spPr>
          <a:xfrm>
            <a:off x="2675619" y="3537392"/>
            <a:ext cx="212361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79E2CBF-3DDF-48D6-A03F-243782D438D7}"/>
              </a:ext>
            </a:extLst>
          </p:cNvPr>
          <p:cNvSpPr txBox="1">
            <a:spLocks/>
          </p:cNvSpPr>
          <p:nvPr/>
        </p:nvSpPr>
        <p:spPr>
          <a:xfrm>
            <a:off x="4943871" y="3537392"/>
            <a:ext cx="212361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0C4B14C6-CC9E-43C6-BECE-B7014A587E7A}"/>
              </a:ext>
            </a:extLst>
          </p:cNvPr>
          <p:cNvSpPr txBox="1">
            <a:spLocks/>
          </p:cNvSpPr>
          <p:nvPr/>
        </p:nvSpPr>
        <p:spPr>
          <a:xfrm>
            <a:off x="7212123" y="3537392"/>
            <a:ext cx="212361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2C44142-31B7-490B-A7C3-F9EE670A8EB5}"/>
              </a:ext>
            </a:extLst>
          </p:cNvPr>
          <p:cNvSpPr txBox="1">
            <a:spLocks/>
          </p:cNvSpPr>
          <p:nvPr/>
        </p:nvSpPr>
        <p:spPr>
          <a:xfrm>
            <a:off x="9480376" y="3537392"/>
            <a:ext cx="212423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BB52350D-7408-4AB6-8A73-64C8061945B2}"/>
              </a:ext>
            </a:extLst>
          </p:cNvPr>
          <p:cNvSpPr/>
          <p:nvPr/>
        </p:nvSpPr>
        <p:spPr>
          <a:xfrm>
            <a:off x="1379367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493A09F3-D75F-4D69-B1C7-6FEA761462DB}"/>
              </a:ext>
            </a:extLst>
          </p:cNvPr>
          <p:cNvSpPr/>
          <p:nvPr/>
        </p:nvSpPr>
        <p:spPr>
          <a:xfrm>
            <a:off x="3647619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B27B03AD-14DA-4754-8BAB-91F64F0042E3}"/>
              </a:ext>
            </a:extLst>
          </p:cNvPr>
          <p:cNvSpPr/>
          <p:nvPr/>
        </p:nvSpPr>
        <p:spPr>
          <a:xfrm>
            <a:off x="5915871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1B8A82CD-0EA2-463B-921E-5A2F89C0BCAB}"/>
              </a:ext>
            </a:extLst>
          </p:cNvPr>
          <p:cNvSpPr/>
          <p:nvPr/>
        </p:nvSpPr>
        <p:spPr>
          <a:xfrm>
            <a:off x="8184123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7896D542-E679-45D9-A5EB-D41225D9A003}"/>
              </a:ext>
            </a:extLst>
          </p:cNvPr>
          <p:cNvSpPr/>
          <p:nvPr/>
        </p:nvSpPr>
        <p:spPr>
          <a:xfrm>
            <a:off x="10452376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tx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38096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7FC2F70C-C8A0-42CC-AD9F-C3F566314261}"/>
              </a:ext>
            </a:extLst>
          </p:cNvPr>
          <p:cNvSpPr/>
          <p:nvPr/>
        </p:nvSpPr>
        <p:spPr>
          <a:xfrm>
            <a:off x="5151288" y="3390065"/>
            <a:ext cx="2040087" cy="1368000"/>
          </a:xfrm>
          <a:custGeom>
            <a:avLst/>
            <a:gdLst>
              <a:gd name="connsiteX0" fmla="*/ 0 w 2040087"/>
              <a:gd name="connsiteY0" fmla="*/ 0 h 1368000"/>
              <a:gd name="connsiteX1" fmla="*/ 1865100 w 2040087"/>
              <a:gd name="connsiteY1" fmla="*/ 0 h 1368000"/>
              <a:gd name="connsiteX2" fmla="*/ 2040087 w 2040087"/>
              <a:gd name="connsiteY2" fmla="*/ 705685 h 1368000"/>
              <a:gd name="connsiteX3" fmla="*/ 1876659 w 2040087"/>
              <a:gd name="connsiteY3" fmla="*/ 1368000 h 1368000"/>
              <a:gd name="connsiteX4" fmla="*/ 12114 w 2040087"/>
              <a:gd name="connsiteY4" fmla="*/ 1368000 h 1368000"/>
              <a:gd name="connsiteX5" fmla="*/ 176362 w 2040087"/>
              <a:gd name="connsiteY5" fmla="*/ 702510 h 13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40087" h="1368000">
                <a:moveTo>
                  <a:pt x="0" y="0"/>
                </a:moveTo>
                <a:lnTo>
                  <a:pt x="1865100" y="0"/>
                </a:lnTo>
                <a:lnTo>
                  <a:pt x="2040087" y="705685"/>
                </a:lnTo>
                <a:lnTo>
                  <a:pt x="1876659" y="1368000"/>
                </a:lnTo>
                <a:lnTo>
                  <a:pt x="12114" y="1368000"/>
                </a:lnTo>
                <a:lnTo>
                  <a:pt x="176362" y="702510"/>
                </a:lnTo>
                <a:close/>
              </a:path>
            </a:pathLst>
          </a:custGeom>
          <a:solidFill>
            <a:schemeClr val="tx2"/>
          </a:solidFill>
          <a:ln w="762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300BF0F-1CEC-46C3-BB93-5CE9141C4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mit (Zwischen)-Ziel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BBC1A32-CB91-4D6E-839D-42F601F71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027CE8A-08C4-434E-8A07-7AE93022D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6</a:t>
            </a:fld>
            <a:endParaRPr lang="de-DE" dirty="0"/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F9DCA395-F7EB-41C7-AACE-A55A7B7D9348}"/>
              </a:ext>
            </a:extLst>
          </p:cNvPr>
          <p:cNvSpPr/>
          <p:nvPr/>
        </p:nvSpPr>
        <p:spPr>
          <a:xfrm>
            <a:off x="442913" y="3395026"/>
            <a:ext cx="1995487" cy="1368000"/>
          </a:xfrm>
          <a:custGeom>
            <a:avLst/>
            <a:gdLst>
              <a:gd name="connsiteX0" fmla="*/ 0 w 2029526"/>
              <a:gd name="connsiteY0" fmla="*/ 0 h 1368000"/>
              <a:gd name="connsiteX1" fmla="*/ 1856148 w 2029526"/>
              <a:gd name="connsiteY1" fmla="*/ 0 h 1368000"/>
              <a:gd name="connsiteX2" fmla="*/ 2029526 w 2029526"/>
              <a:gd name="connsiteY2" fmla="*/ 690844 h 1368000"/>
              <a:gd name="connsiteX3" fmla="*/ 2029526 w 2029526"/>
              <a:gd name="connsiteY3" fmla="*/ 697989 h 1368000"/>
              <a:gd name="connsiteX4" fmla="*/ 1865282 w 2029526"/>
              <a:gd name="connsiteY4" fmla="*/ 1368000 h 1368000"/>
              <a:gd name="connsiteX5" fmla="*/ 0 w 2029526"/>
              <a:gd name="connsiteY5" fmla="*/ 1368000 h 13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29526" h="1368000">
                <a:moveTo>
                  <a:pt x="0" y="0"/>
                </a:moveTo>
                <a:lnTo>
                  <a:pt x="1856148" y="0"/>
                </a:lnTo>
                <a:lnTo>
                  <a:pt x="2029526" y="690844"/>
                </a:lnTo>
                <a:lnTo>
                  <a:pt x="2029526" y="697989"/>
                </a:lnTo>
                <a:lnTo>
                  <a:pt x="1865282" y="1368000"/>
                </a:lnTo>
                <a:lnTo>
                  <a:pt x="0" y="1368000"/>
                </a:lnTo>
                <a:close/>
              </a:path>
            </a:pathLst>
          </a:custGeom>
          <a:solidFill>
            <a:schemeClr val="accent1"/>
          </a:solidFill>
          <a:ln w="762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6A79D136-2B14-429F-A265-638FDF7698B0}"/>
              </a:ext>
            </a:extLst>
          </p:cNvPr>
          <p:cNvSpPr txBox="1">
            <a:spLocks/>
          </p:cNvSpPr>
          <p:nvPr/>
        </p:nvSpPr>
        <p:spPr>
          <a:xfrm>
            <a:off x="2810977" y="1864464"/>
            <a:ext cx="1800000" cy="44291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m-od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7DCC3353-252A-475B-843E-EDB73C737932}"/>
              </a:ext>
            </a:extLst>
          </p:cNvPr>
          <p:cNvSpPr txBox="1">
            <a:spLocks/>
          </p:cNvSpPr>
          <p:nvPr/>
        </p:nvSpPr>
        <p:spPr>
          <a:xfrm>
            <a:off x="7563634" y="1864464"/>
            <a:ext cx="1800000" cy="44291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m-od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CEFB2A30-D782-424C-AD5C-2034B5E54E41}"/>
              </a:ext>
            </a:extLst>
          </p:cNvPr>
          <p:cNvSpPr/>
          <p:nvPr/>
        </p:nvSpPr>
        <p:spPr>
          <a:xfrm>
            <a:off x="9963149" y="3395026"/>
            <a:ext cx="1785939" cy="1368000"/>
          </a:xfrm>
          <a:custGeom>
            <a:avLst/>
            <a:gdLst>
              <a:gd name="connsiteX0" fmla="*/ 0 w 1828800"/>
              <a:gd name="connsiteY0" fmla="*/ 0 h 1368000"/>
              <a:gd name="connsiteX1" fmla="*/ 1828800 w 1828800"/>
              <a:gd name="connsiteY1" fmla="*/ 0 h 1368000"/>
              <a:gd name="connsiteX2" fmla="*/ 1828800 w 1828800"/>
              <a:gd name="connsiteY2" fmla="*/ 1368000 h 1368000"/>
              <a:gd name="connsiteX3" fmla="*/ 6682 w 1828800"/>
              <a:gd name="connsiteY3" fmla="*/ 1368000 h 1368000"/>
              <a:gd name="connsiteX4" fmla="*/ 172155 w 1828800"/>
              <a:gd name="connsiteY4" fmla="*/ 697548 h 1368000"/>
              <a:gd name="connsiteX5" fmla="*/ 0 w 1828800"/>
              <a:gd name="connsiteY5" fmla="*/ 11797 h 13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1368000">
                <a:moveTo>
                  <a:pt x="0" y="0"/>
                </a:moveTo>
                <a:lnTo>
                  <a:pt x="1828800" y="0"/>
                </a:lnTo>
                <a:lnTo>
                  <a:pt x="1828800" y="1368000"/>
                </a:lnTo>
                <a:lnTo>
                  <a:pt x="6682" y="1368000"/>
                </a:lnTo>
                <a:lnTo>
                  <a:pt x="172155" y="697548"/>
                </a:lnTo>
                <a:lnTo>
                  <a:pt x="0" y="11797"/>
                </a:lnTo>
                <a:close/>
              </a:path>
            </a:pathLst>
          </a:custGeom>
          <a:solidFill>
            <a:schemeClr val="bg2"/>
          </a:solidFill>
          <a:ln w="76200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5AAE1F8A-7150-4816-BD7B-8B6A6BFDB5FB}"/>
              </a:ext>
            </a:extLst>
          </p:cNvPr>
          <p:cNvSpPr/>
          <p:nvPr/>
        </p:nvSpPr>
        <p:spPr>
          <a:xfrm>
            <a:off x="1919536" y="1881189"/>
            <a:ext cx="552904" cy="4390181"/>
          </a:xfrm>
          <a:custGeom>
            <a:avLst/>
            <a:gdLst>
              <a:gd name="connsiteX0" fmla="*/ 0 w 1314450"/>
              <a:gd name="connsiteY0" fmla="*/ 0 h 2609850"/>
              <a:gd name="connsiteX1" fmla="*/ 1314450 w 1314450"/>
              <a:gd name="connsiteY1" fmla="*/ 1314450 h 2609850"/>
              <a:gd name="connsiteX2" fmla="*/ 19050 w 1314450"/>
              <a:gd name="connsiteY2" fmla="*/ 2609850 h 260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4450" h="2609850">
                <a:moveTo>
                  <a:pt x="0" y="0"/>
                </a:moveTo>
                <a:lnTo>
                  <a:pt x="1314450" y="1314450"/>
                </a:lnTo>
                <a:lnTo>
                  <a:pt x="19050" y="260985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DC33E90B-5AA8-40DC-8D66-39B0D618970A}"/>
              </a:ext>
            </a:extLst>
          </p:cNvPr>
          <p:cNvSpPr/>
          <p:nvPr/>
        </p:nvSpPr>
        <p:spPr>
          <a:xfrm>
            <a:off x="4774367" y="1881189"/>
            <a:ext cx="552904" cy="4392612"/>
          </a:xfrm>
          <a:custGeom>
            <a:avLst/>
            <a:gdLst>
              <a:gd name="connsiteX0" fmla="*/ 0 w 1314450"/>
              <a:gd name="connsiteY0" fmla="*/ 0 h 2609850"/>
              <a:gd name="connsiteX1" fmla="*/ 1314450 w 1314450"/>
              <a:gd name="connsiteY1" fmla="*/ 1314450 h 2609850"/>
              <a:gd name="connsiteX2" fmla="*/ 19050 w 1314450"/>
              <a:gd name="connsiteY2" fmla="*/ 2609850 h 260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4450" h="2609850">
                <a:moveTo>
                  <a:pt x="0" y="0"/>
                </a:moveTo>
                <a:lnTo>
                  <a:pt x="1314450" y="1314450"/>
                </a:lnTo>
                <a:lnTo>
                  <a:pt x="19050" y="260985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04E6C11F-D439-4D70-B620-F96AD54A1217}"/>
              </a:ext>
            </a:extLst>
          </p:cNvPr>
          <p:cNvSpPr/>
          <p:nvPr/>
        </p:nvSpPr>
        <p:spPr>
          <a:xfrm>
            <a:off x="6638471" y="1881189"/>
            <a:ext cx="552904" cy="4392612"/>
          </a:xfrm>
          <a:custGeom>
            <a:avLst/>
            <a:gdLst>
              <a:gd name="connsiteX0" fmla="*/ 0 w 1314450"/>
              <a:gd name="connsiteY0" fmla="*/ 0 h 2609850"/>
              <a:gd name="connsiteX1" fmla="*/ 1314450 w 1314450"/>
              <a:gd name="connsiteY1" fmla="*/ 1314450 h 2609850"/>
              <a:gd name="connsiteX2" fmla="*/ 19050 w 1314450"/>
              <a:gd name="connsiteY2" fmla="*/ 2609850 h 260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4450" h="2609850">
                <a:moveTo>
                  <a:pt x="0" y="0"/>
                </a:moveTo>
                <a:lnTo>
                  <a:pt x="1314450" y="1314450"/>
                </a:lnTo>
                <a:lnTo>
                  <a:pt x="19050" y="260985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8E7DA747-57B4-4073-87CD-C046B8C25E73}"/>
              </a:ext>
            </a:extLst>
          </p:cNvPr>
          <p:cNvSpPr/>
          <p:nvPr/>
        </p:nvSpPr>
        <p:spPr>
          <a:xfrm>
            <a:off x="9539540" y="1881189"/>
            <a:ext cx="552904" cy="4392612"/>
          </a:xfrm>
          <a:custGeom>
            <a:avLst/>
            <a:gdLst>
              <a:gd name="connsiteX0" fmla="*/ 0 w 1314450"/>
              <a:gd name="connsiteY0" fmla="*/ 0 h 2609850"/>
              <a:gd name="connsiteX1" fmla="*/ 1314450 w 1314450"/>
              <a:gd name="connsiteY1" fmla="*/ 1314450 h 2609850"/>
              <a:gd name="connsiteX2" fmla="*/ 19050 w 1314450"/>
              <a:gd name="connsiteY2" fmla="*/ 2609850 h 260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4450" h="2609850">
                <a:moveTo>
                  <a:pt x="0" y="0"/>
                </a:moveTo>
                <a:lnTo>
                  <a:pt x="1314450" y="1314450"/>
                </a:lnTo>
                <a:lnTo>
                  <a:pt x="19050" y="260985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5834A23-5D44-DE61-1ED9-F865F39899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11600" y="2242800"/>
            <a:ext cx="698400" cy="698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A049ECA-7A54-6AA7-4B49-AA2785104A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63600" y="2242800"/>
            <a:ext cx="698238" cy="698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617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00BF0F-1CEC-46C3-BB93-5CE9141C4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mit (Zwischen)-Ziel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BBC1A32-CB91-4D6E-839D-42F601F71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027CE8A-08C4-434E-8A07-7AE93022D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7</a:t>
            </a:fld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35126C0-6977-4FF4-AD45-AB6FB99D319E}"/>
              </a:ext>
            </a:extLst>
          </p:cNvPr>
          <p:cNvSpPr/>
          <p:nvPr/>
        </p:nvSpPr>
        <p:spPr>
          <a:xfrm>
            <a:off x="425525" y="3395026"/>
            <a:ext cx="1818247" cy="136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6A79D136-2B14-429F-A265-638FDF7698B0}"/>
              </a:ext>
            </a:extLst>
          </p:cNvPr>
          <p:cNvSpPr txBox="1">
            <a:spLocks/>
          </p:cNvSpPr>
          <p:nvPr/>
        </p:nvSpPr>
        <p:spPr>
          <a:xfrm>
            <a:off x="2810977" y="1864464"/>
            <a:ext cx="1800000" cy="44291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m-od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7DCC3353-252A-475B-843E-EDB73C737932}"/>
              </a:ext>
            </a:extLst>
          </p:cNvPr>
          <p:cNvSpPr txBox="1">
            <a:spLocks/>
          </p:cNvSpPr>
          <p:nvPr/>
        </p:nvSpPr>
        <p:spPr>
          <a:xfrm>
            <a:off x="7563634" y="1864464"/>
            <a:ext cx="1800000" cy="44291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m-od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DCC3540-0EDE-42C2-92A1-0BBF8A18FB12}"/>
              </a:ext>
            </a:extLst>
          </p:cNvPr>
          <p:cNvSpPr/>
          <p:nvPr/>
        </p:nvSpPr>
        <p:spPr>
          <a:xfrm>
            <a:off x="5178182" y="3395026"/>
            <a:ext cx="1818247" cy="136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E188321-70A1-491F-ABDE-DA1CF4B3DA60}"/>
              </a:ext>
            </a:extLst>
          </p:cNvPr>
          <p:cNvSpPr/>
          <p:nvPr/>
        </p:nvSpPr>
        <p:spPr>
          <a:xfrm>
            <a:off x="9930841" y="3395026"/>
            <a:ext cx="1818247" cy="1368000"/>
          </a:xfrm>
          <a:prstGeom prst="rect">
            <a:avLst/>
          </a:prstGeom>
          <a:solidFill>
            <a:schemeClr val="bg2"/>
          </a:solidFill>
          <a:ln w="7620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AF689AE8-CACD-4BBE-8F3B-42D962A7E56A}"/>
              </a:ext>
            </a:extLst>
          </p:cNvPr>
          <p:cNvCxnSpPr/>
          <p:nvPr/>
        </p:nvCxnSpPr>
        <p:spPr>
          <a:xfrm>
            <a:off x="5142215" y="1880828"/>
            <a:ext cx="0" cy="44124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3BC91A97-37BE-47F3-BDC5-FD2595B86994}"/>
              </a:ext>
            </a:extLst>
          </p:cNvPr>
          <p:cNvCxnSpPr/>
          <p:nvPr/>
        </p:nvCxnSpPr>
        <p:spPr>
          <a:xfrm>
            <a:off x="2284208" y="1880828"/>
            <a:ext cx="0" cy="44124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DE69CE22-0B9E-4596-B6C0-B7E2C076F3D9}"/>
              </a:ext>
            </a:extLst>
          </p:cNvPr>
          <p:cNvCxnSpPr/>
          <p:nvPr/>
        </p:nvCxnSpPr>
        <p:spPr>
          <a:xfrm>
            <a:off x="9890991" y="1880828"/>
            <a:ext cx="0" cy="44124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8E1DD538-FE33-47B2-92AC-29361908E51D}"/>
              </a:ext>
            </a:extLst>
          </p:cNvPr>
          <p:cNvCxnSpPr/>
          <p:nvPr/>
        </p:nvCxnSpPr>
        <p:spPr>
          <a:xfrm>
            <a:off x="7029786" y="1880828"/>
            <a:ext cx="0" cy="44124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39AB663F-2BDA-41EE-8717-8A12685CCF95}"/>
              </a:ext>
            </a:extLst>
          </p:cNvPr>
          <p:cNvGrpSpPr/>
          <p:nvPr/>
        </p:nvGrpSpPr>
        <p:grpSpPr>
          <a:xfrm>
            <a:off x="2107846" y="3855864"/>
            <a:ext cx="364154" cy="462328"/>
            <a:chOff x="5250189" y="3455483"/>
            <a:chExt cx="364154" cy="462328"/>
          </a:xfrm>
        </p:grpSpPr>
        <p:sp>
          <p:nvSpPr>
            <p:cNvPr id="92" name="Freeform 5">
              <a:extLst>
                <a:ext uri="{FF2B5EF4-FFF2-40B4-BE49-F238E27FC236}">
                  <a16:creationId xmlns:a16="http://schemas.microsoft.com/office/drawing/2014/main" id="{9FDE7DCF-3B32-4BAA-BC36-67543A6A5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189" y="3455483"/>
              <a:ext cx="364154" cy="462328"/>
            </a:xfrm>
            <a:custGeom>
              <a:avLst/>
              <a:gdLst>
                <a:gd name="T0" fmla="*/ 342 w 352"/>
                <a:gd name="T1" fmla="*/ 201 h 448"/>
                <a:gd name="T2" fmla="*/ 304 w 352"/>
                <a:gd name="T3" fmla="*/ 148 h 448"/>
                <a:gd name="T4" fmla="*/ 302 w 352"/>
                <a:gd name="T5" fmla="*/ 146 h 448"/>
                <a:gd name="T6" fmla="*/ 216 w 352"/>
                <a:gd name="T7" fmla="*/ 74 h 448"/>
                <a:gd name="T8" fmla="*/ 215 w 352"/>
                <a:gd name="T9" fmla="*/ 73 h 448"/>
                <a:gd name="T10" fmla="*/ 182 w 352"/>
                <a:gd name="T11" fmla="*/ 46 h 448"/>
                <a:gd name="T12" fmla="*/ 155 w 352"/>
                <a:gd name="T13" fmla="*/ 23 h 448"/>
                <a:gd name="T14" fmla="*/ 85 w 352"/>
                <a:gd name="T15" fmla="*/ 4 h 448"/>
                <a:gd name="T16" fmla="*/ 23 w 352"/>
                <a:gd name="T17" fmla="*/ 43 h 448"/>
                <a:gd name="T18" fmla="*/ 33 w 352"/>
                <a:gd name="T19" fmla="*/ 155 h 448"/>
                <a:gd name="T20" fmla="*/ 35 w 352"/>
                <a:gd name="T21" fmla="*/ 157 h 448"/>
                <a:gd name="T22" fmla="*/ 118 w 352"/>
                <a:gd name="T23" fmla="*/ 226 h 448"/>
                <a:gd name="T24" fmla="*/ 28 w 352"/>
                <a:gd name="T25" fmla="*/ 303 h 448"/>
                <a:gd name="T26" fmla="*/ 25 w 352"/>
                <a:gd name="T27" fmla="*/ 306 h 448"/>
                <a:gd name="T28" fmla="*/ 30 w 352"/>
                <a:gd name="T29" fmla="*/ 417 h 448"/>
                <a:gd name="T30" fmla="*/ 31 w 352"/>
                <a:gd name="T31" fmla="*/ 419 h 448"/>
                <a:gd name="T32" fmla="*/ 98 w 352"/>
                <a:gd name="T33" fmla="*/ 448 h 448"/>
                <a:gd name="T34" fmla="*/ 148 w 352"/>
                <a:gd name="T35" fmla="*/ 432 h 448"/>
                <a:gd name="T36" fmla="*/ 209 w 352"/>
                <a:gd name="T37" fmla="*/ 383 h 448"/>
                <a:gd name="T38" fmla="*/ 223 w 352"/>
                <a:gd name="T39" fmla="*/ 371 h 448"/>
                <a:gd name="T40" fmla="*/ 268 w 352"/>
                <a:gd name="T41" fmla="*/ 333 h 448"/>
                <a:gd name="T42" fmla="*/ 312 w 352"/>
                <a:gd name="T43" fmla="*/ 296 h 448"/>
                <a:gd name="T44" fmla="*/ 342 w 352"/>
                <a:gd name="T45" fmla="*/ 20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2" h="448">
                  <a:moveTo>
                    <a:pt x="342" y="201"/>
                  </a:moveTo>
                  <a:cubicBezTo>
                    <a:pt x="336" y="175"/>
                    <a:pt x="318" y="159"/>
                    <a:pt x="304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73" y="122"/>
                    <a:pt x="244" y="98"/>
                    <a:pt x="216" y="74"/>
                  </a:cubicBezTo>
                  <a:cubicBezTo>
                    <a:pt x="215" y="73"/>
                    <a:pt x="215" y="73"/>
                    <a:pt x="215" y="73"/>
                  </a:cubicBezTo>
                  <a:cubicBezTo>
                    <a:pt x="204" y="64"/>
                    <a:pt x="193" y="55"/>
                    <a:pt x="182" y="46"/>
                  </a:cubicBezTo>
                  <a:cubicBezTo>
                    <a:pt x="173" y="38"/>
                    <a:pt x="164" y="30"/>
                    <a:pt x="155" y="23"/>
                  </a:cubicBezTo>
                  <a:cubicBezTo>
                    <a:pt x="135" y="7"/>
                    <a:pt x="110" y="0"/>
                    <a:pt x="85" y="4"/>
                  </a:cubicBezTo>
                  <a:cubicBezTo>
                    <a:pt x="60" y="8"/>
                    <a:pt x="37" y="22"/>
                    <a:pt x="23" y="43"/>
                  </a:cubicBezTo>
                  <a:cubicBezTo>
                    <a:pt x="0" y="78"/>
                    <a:pt x="4" y="123"/>
                    <a:pt x="33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118" y="226"/>
                    <a:pt x="118" y="226"/>
                    <a:pt x="118" y="226"/>
                  </a:cubicBezTo>
                  <a:cubicBezTo>
                    <a:pt x="28" y="303"/>
                    <a:pt x="28" y="303"/>
                    <a:pt x="28" y="303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1" y="339"/>
                    <a:pt x="3" y="384"/>
                    <a:pt x="30" y="417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49" y="438"/>
                    <a:pt x="73" y="448"/>
                    <a:pt x="98" y="448"/>
                  </a:cubicBezTo>
                  <a:cubicBezTo>
                    <a:pt x="116" y="448"/>
                    <a:pt x="133" y="443"/>
                    <a:pt x="148" y="432"/>
                  </a:cubicBezTo>
                  <a:cubicBezTo>
                    <a:pt x="170" y="416"/>
                    <a:pt x="190" y="399"/>
                    <a:pt x="209" y="383"/>
                  </a:cubicBezTo>
                  <a:cubicBezTo>
                    <a:pt x="214" y="379"/>
                    <a:pt x="218" y="375"/>
                    <a:pt x="223" y="371"/>
                  </a:cubicBezTo>
                  <a:cubicBezTo>
                    <a:pt x="238" y="359"/>
                    <a:pt x="253" y="346"/>
                    <a:pt x="268" y="333"/>
                  </a:cubicBezTo>
                  <a:cubicBezTo>
                    <a:pt x="282" y="321"/>
                    <a:pt x="297" y="308"/>
                    <a:pt x="312" y="296"/>
                  </a:cubicBezTo>
                  <a:cubicBezTo>
                    <a:pt x="340" y="273"/>
                    <a:pt x="352" y="236"/>
                    <a:pt x="342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Freeform 5">
              <a:extLst>
                <a:ext uri="{FF2B5EF4-FFF2-40B4-BE49-F238E27FC236}">
                  <a16:creationId xmlns:a16="http://schemas.microsoft.com/office/drawing/2014/main" id="{2607CB20-C7CA-4FDA-8D36-F19284650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01" y="3490045"/>
              <a:ext cx="278131" cy="393205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61C0F7ED-21A1-4087-A888-D4CAFCD17002}"/>
              </a:ext>
            </a:extLst>
          </p:cNvPr>
          <p:cNvGrpSpPr/>
          <p:nvPr/>
        </p:nvGrpSpPr>
        <p:grpSpPr>
          <a:xfrm>
            <a:off x="4984164" y="3826522"/>
            <a:ext cx="364154" cy="462328"/>
            <a:chOff x="5250189" y="3455483"/>
            <a:chExt cx="364154" cy="462328"/>
          </a:xfrm>
        </p:grpSpPr>
        <p:sp>
          <p:nvSpPr>
            <p:cNvPr id="95" name="Freeform 5">
              <a:extLst>
                <a:ext uri="{FF2B5EF4-FFF2-40B4-BE49-F238E27FC236}">
                  <a16:creationId xmlns:a16="http://schemas.microsoft.com/office/drawing/2014/main" id="{14DAA140-3E5F-4BA8-BFAC-727AC9669B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189" y="3455483"/>
              <a:ext cx="364154" cy="462328"/>
            </a:xfrm>
            <a:custGeom>
              <a:avLst/>
              <a:gdLst>
                <a:gd name="T0" fmla="*/ 342 w 352"/>
                <a:gd name="T1" fmla="*/ 201 h 448"/>
                <a:gd name="T2" fmla="*/ 304 w 352"/>
                <a:gd name="T3" fmla="*/ 148 h 448"/>
                <a:gd name="T4" fmla="*/ 302 w 352"/>
                <a:gd name="T5" fmla="*/ 146 h 448"/>
                <a:gd name="T6" fmla="*/ 216 w 352"/>
                <a:gd name="T7" fmla="*/ 74 h 448"/>
                <a:gd name="T8" fmla="*/ 215 w 352"/>
                <a:gd name="T9" fmla="*/ 73 h 448"/>
                <a:gd name="T10" fmla="*/ 182 w 352"/>
                <a:gd name="T11" fmla="*/ 46 h 448"/>
                <a:gd name="T12" fmla="*/ 155 w 352"/>
                <a:gd name="T13" fmla="*/ 23 h 448"/>
                <a:gd name="T14" fmla="*/ 85 w 352"/>
                <a:gd name="T15" fmla="*/ 4 h 448"/>
                <a:gd name="T16" fmla="*/ 23 w 352"/>
                <a:gd name="T17" fmla="*/ 43 h 448"/>
                <a:gd name="T18" fmla="*/ 33 w 352"/>
                <a:gd name="T19" fmla="*/ 155 h 448"/>
                <a:gd name="T20" fmla="*/ 35 w 352"/>
                <a:gd name="T21" fmla="*/ 157 h 448"/>
                <a:gd name="T22" fmla="*/ 118 w 352"/>
                <a:gd name="T23" fmla="*/ 226 h 448"/>
                <a:gd name="T24" fmla="*/ 28 w 352"/>
                <a:gd name="T25" fmla="*/ 303 h 448"/>
                <a:gd name="T26" fmla="*/ 25 w 352"/>
                <a:gd name="T27" fmla="*/ 306 h 448"/>
                <a:gd name="T28" fmla="*/ 30 w 352"/>
                <a:gd name="T29" fmla="*/ 417 h 448"/>
                <a:gd name="T30" fmla="*/ 31 w 352"/>
                <a:gd name="T31" fmla="*/ 419 h 448"/>
                <a:gd name="T32" fmla="*/ 98 w 352"/>
                <a:gd name="T33" fmla="*/ 448 h 448"/>
                <a:gd name="T34" fmla="*/ 148 w 352"/>
                <a:gd name="T35" fmla="*/ 432 h 448"/>
                <a:gd name="T36" fmla="*/ 209 w 352"/>
                <a:gd name="T37" fmla="*/ 383 h 448"/>
                <a:gd name="T38" fmla="*/ 223 w 352"/>
                <a:gd name="T39" fmla="*/ 371 h 448"/>
                <a:gd name="T40" fmla="*/ 268 w 352"/>
                <a:gd name="T41" fmla="*/ 333 h 448"/>
                <a:gd name="T42" fmla="*/ 312 w 352"/>
                <a:gd name="T43" fmla="*/ 296 h 448"/>
                <a:gd name="T44" fmla="*/ 342 w 352"/>
                <a:gd name="T45" fmla="*/ 20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2" h="448">
                  <a:moveTo>
                    <a:pt x="342" y="201"/>
                  </a:moveTo>
                  <a:cubicBezTo>
                    <a:pt x="336" y="175"/>
                    <a:pt x="318" y="159"/>
                    <a:pt x="304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73" y="122"/>
                    <a:pt x="244" y="98"/>
                    <a:pt x="216" y="74"/>
                  </a:cubicBezTo>
                  <a:cubicBezTo>
                    <a:pt x="215" y="73"/>
                    <a:pt x="215" y="73"/>
                    <a:pt x="215" y="73"/>
                  </a:cubicBezTo>
                  <a:cubicBezTo>
                    <a:pt x="204" y="64"/>
                    <a:pt x="193" y="55"/>
                    <a:pt x="182" y="46"/>
                  </a:cubicBezTo>
                  <a:cubicBezTo>
                    <a:pt x="173" y="38"/>
                    <a:pt x="164" y="30"/>
                    <a:pt x="155" y="23"/>
                  </a:cubicBezTo>
                  <a:cubicBezTo>
                    <a:pt x="135" y="7"/>
                    <a:pt x="110" y="0"/>
                    <a:pt x="85" y="4"/>
                  </a:cubicBezTo>
                  <a:cubicBezTo>
                    <a:pt x="60" y="8"/>
                    <a:pt x="37" y="22"/>
                    <a:pt x="23" y="43"/>
                  </a:cubicBezTo>
                  <a:cubicBezTo>
                    <a:pt x="0" y="78"/>
                    <a:pt x="4" y="123"/>
                    <a:pt x="33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118" y="226"/>
                    <a:pt x="118" y="226"/>
                    <a:pt x="118" y="226"/>
                  </a:cubicBezTo>
                  <a:cubicBezTo>
                    <a:pt x="28" y="303"/>
                    <a:pt x="28" y="303"/>
                    <a:pt x="28" y="303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1" y="339"/>
                    <a:pt x="3" y="384"/>
                    <a:pt x="30" y="417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49" y="438"/>
                    <a:pt x="73" y="448"/>
                    <a:pt x="98" y="448"/>
                  </a:cubicBezTo>
                  <a:cubicBezTo>
                    <a:pt x="116" y="448"/>
                    <a:pt x="133" y="443"/>
                    <a:pt x="148" y="432"/>
                  </a:cubicBezTo>
                  <a:cubicBezTo>
                    <a:pt x="170" y="416"/>
                    <a:pt x="190" y="399"/>
                    <a:pt x="209" y="383"/>
                  </a:cubicBezTo>
                  <a:cubicBezTo>
                    <a:pt x="214" y="379"/>
                    <a:pt x="218" y="375"/>
                    <a:pt x="223" y="371"/>
                  </a:cubicBezTo>
                  <a:cubicBezTo>
                    <a:pt x="238" y="359"/>
                    <a:pt x="253" y="346"/>
                    <a:pt x="268" y="333"/>
                  </a:cubicBezTo>
                  <a:cubicBezTo>
                    <a:pt x="282" y="321"/>
                    <a:pt x="297" y="308"/>
                    <a:pt x="312" y="296"/>
                  </a:cubicBezTo>
                  <a:cubicBezTo>
                    <a:pt x="340" y="273"/>
                    <a:pt x="352" y="236"/>
                    <a:pt x="342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5">
              <a:extLst>
                <a:ext uri="{FF2B5EF4-FFF2-40B4-BE49-F238E27FC236}">
                  <a16:creationId xmlns:a16="http://schemas.microsoft.com/office/drawing/2014/main" id="{93AD2A45-CEFC-4596-86C5-977861EB19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01" y="3490045"/>
              <a:ext cx="278131" cy="393205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B73DDCB0-344A-43F3-A6DE-7808F3D9F959}"/>
              </a:ext>
            </a:extLst>
          </p:cNvPr>
          <p:cNvGrpSpPr/>
          <p:nvPr/>
        </p:nvGrpSpPr>
        <p:grpSpPr>
          <a:xfrm>
            <a:off x="6847970" y="3797180"/>
            <a:ext cx="364154" cy="462328"/>
            <a:chOff x="5250189" y="3455483"/>
            <a:chExt cx="364154" cy="462328"/>
          </a:xfrm>
        </p:grpSpPr>
        <p:sp>
          <p:nvSpPr>
            <p:cNvPr id="98" name="Freeform 5">
              <a:extLst>
                <a:ext uri="{FF2B5EF4-FFF2-40B4-BE49-F238E27FC236}">
                  <a16:creationId xmlns:a16="http://schemas.microsoft.com/office/drawing/2014/main" id="{8C34F460-4BA4-4AC6-AB73-09A9DA72E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189" y="3455483"/>
              <a:ext cx="364154" cy="462328"/>
            </a:xfrm>
            <a:custGeom>
              <a:avLst/>
              <a:gdLst>
                <a:gd name="T0" fmla="*/ 342 w 352"/>
                <a:gd name="T1" fmla="*/ 201 h 448"/>
                <a:gd name="T2" fmla="*/ 304 w 352"/>
                <a:gd name="T3" fmla="*/ 148 h 448"/>
                <a:gd name="T4" fmla="*/ 302 w 352"/>
                <a:gd name="T5" fmla="*/ 146 h 448"/>
                <a:gd name="T6" fmla="*/ 216 w 352"/>
                <a:gd name="T7" fmla="*/ 74 h 448"/>
                <a:gd name="T8" fmla="*/ 215 w 352"/>
                <a:gd name="T9" fmla="*/ 73 h 448"/>
                <a:gd name="T10" fmla="*/ 182 w 352"/>
                <a:gd name="T11" fmla="*/ 46 h 448"/>
                <a:gd name="T12" fmla="*/ 155 w 352"/>
                <a:gd name="T13" fmla="*/ 23 h 448"/>
                <a:gd name="T14" fmla="*/ 85 w 352"/>
                <a:gd name="T15" fmla="*/ 4 h 448"/>
                <a:gd name="T16" fmla="*/ 23 w 352"/>
                <a:gd name="T17" fmla="*/ 43 h 448"/>
                <a:gd name="T18" fmla="*/ 33 w 352"/>
                <a:gd name="T19" fmla="*/ 155 h 448"/>
                <a:gd name="T20" fmla="*/ 35 w 352"/>
                <a:gd name="T21" fmla="*/ 157 h 448"/>
                <a:gd name="T22" fmla="*/ 118 w 352"/>
                <a:gd name="T23" fmla="*/ 226 h 448"/>
                <a:gd name="T24" fmla="*/ 28 w 352"/>
                <a:gd name="T25" fmla="*/ 303 h 448"/>
                <a:gd name="T26" fmla="*/ 25 w 352"/>
                <a:gd name="T27" fmla="*/ 306 h 448"/>
                <a:gd name="T28" fmla="*/ 30 w 352"/>
                <a:gd name="T29" fmla="*/ 417 h 448"/>
                <a:gd name="T30" fmla="*/ 31 w 352"/>
                <a:gd name="T31" fmla="*/ 419 h 448"/>
                <a:gd name="T32" fmla="*/ 98 w 352"/>
                <a:gd name="T33" fmla="*/ 448 h 448"/>
                <a:gd name="T34" fmla="*/ 148 w 352"/>
                <a:gd name="T35" fmla="*/ 432 h 448"/>
                <a:gd name="T36" fmla="*/ 209 w 352"/>
                <a:gd name="T37" fmla="*/ 383 h 448"/>
                <a:gd name="T38" fmla="*/ 223 w 352"/>
                <a:gd name="T39" fmla="*/ 371 h 448"/>
                <a:gd name="T40" fmla="*/ 268 w 352"/>
                <a:gd name="T41" fmla="*/ 333 h 448"/>
                <a:gd name="T42" fmla="*/ 312 w 352"/>
                <a:gd name="T43" fmla="*/ 296 h 448"/>
                <a:gd name="T44" fmla="*/ 342 w 352"/>
                <a:gd name="T45" fmla="*/ 20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2" h="448">
                  <a:moveTo>
                    <a:pt x="342" y="201"/>
                  </a:moveTo>
                  <a:cubicBezTo>
                    <a:pt x="336" y="175"/>
                    <a:pt x="318" y="159"/>
                    <a:pt x="304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73" y="122"/>
                    <a:pt x="244" y="98"/>
                    <a:pt x="216" y="74"/>
                  </a:cubicBezTo>
                  <a:cubicBezTo>
                    <a:pt x="215" y="73"/>
                    <a:pt x="215" y="73"/>
                    <a:pt x="215" y="73"/>
                  </a:cubicBezTo>
                  <a:cubicBezTo>
                    <a:pt x="204" y="64"/>
                    <a:pt x="193" y="55"/>
                    <a:pt x="182" y="46"/>
                  </a:cubicBezTo>
                  <a:cubicBezTo>
                    <a:pt x="173" y="38"/>
                    <a:pt x="164" y="30"/>
                    <a:pt x="155" y="23"/>
                  </a:cubicBezTo>
                  <a:cubicBezTo>
                    <a:pt x="135" y="7"/>
                    <a:pt x="110" y="0"/>
                    <a:pt x="85" y="4"/>
                  </a:cubicBezTo>
                  <a:cubicBezTo>
                    <a:pt x="60" y="8"/>
                    <a:pt x="37" y="22"/>
                    <a:pt x="23" y="43"/>
                  </a:cubicBezTo>
                  <a:cubicBezTo>
                    <a:pt x="0" y="78"/>
                    <a:pt x="4" y="123"/>
                    <a:pt x="33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118" y="226"/>
                    <a:pt x="118" y="226"/>
                    <a:pt x="118" y="226"/>
                  </a:cubicBezTo>
                  <a:cubicBezTo>
                    <a:pt x="28" y="303"/>
                    <a:pt x="28" y="303"/>
                    <a:pt x="28" y="303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1" y="339"/>
                    <a:pt x="3" y="384"/>
                    <a:pt x="30" y="417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49" y="438"/>
                    <a:pt x="73" y="448"/>
                    <a:pt x="98" y="448"/>
                  </a:cubicBezTo>
                  <a:cubicBezTo>
                    <a:pt x="116" y="448"/>
                    <a:pt x="133" y="443"/>
                    <a:pt x="148" y="432"/>
                  </a:cubicBezTo>
                  <a:cubicBezTo>
                    <a:pt x="170" y="416"/>
                    <a:pt x="190" y="399"/>
                    <a:pt x="209" y="383"/>
                  </a:cubicBezTo>
                  <a:cubicBezTo>
                    <a:pt x="214" y="379"/>
                    <a:pt x="218" y="375"/>
                    <a:pt x="223" y="371"/>
                  </a:cubicBezTo>
                  <a:cubicBezTo>
                    <a:pt x="238" y="359"/>
                    <a:pt x="253" y="346"/>
                    <a:pt x="268" y="333"/>
                  </a:cubicBezTo>
                  <a:cubicBezTo>
                    <a:pt x="282" y="321"/>
                    <a:pt x="297" y="308"/>
                    <a:pt x="312" y="296"/>
                  </a:cubicBezTo>
                  <a:cubicBezTo>
                    <a:pt x="340" y="273"/>
                    <a:pt x="352" y="236"/>
                    <a:pt x="342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Freeform 5">
              <a:extLst>
                <a:ext uri="{FF2B5EF4-FFF2-40B4-BE49-F238E27FC236}">
                  <a16:creationId xmlns:a16="http://schemas.microsoft.com/office/drawing/2014/main" id="{71A627DB-40F0-452F-B271-9E81B71DA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01" y="3490045"/>
              <a:ext cx="278131" cy="393205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2B4947A6-CDF0-4725-B91D-BD7DC17635D6}"/>
              </a:ext>
            </a:extLst>
          </p:cNvPr>
          <p:cNvGrpSpPr/>
          <p:nvPr/>
        </p:nvGrpSpPr>
        <p:grpSpPr>
          <a:xfrm>
            <a:off x="9696400" y="3767838"/>
            <a:ext cx="364154" cy="462328"/>
            <a:chOff x="5250189" y="3455483"/>
            <a:chExt cx="364154" cy="462328"/>
          </a:xfrm>
        </p:grpSpPr>
        <p:sp>
          <p:nvSpPr>
            <p:cNvPr id="101" name="Freeform 5">
              <a:extLst>
                <a:ext uri="{FF2B5EF4-FFF2-40B4-BE49-F238E27FC236}">
                  <a16:creationId xmlns:a16="http://schemas.microsoft.com/office/drawing/2014/main" id="{F39E27B7-246C-47CC-8FB8-7BA6E30EA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189" y="3455483"/>
              <a:ext cx="364154" cy="462328"/>
            </a:xfrm>
            <a:custGeom>
              <a:avLst/>
              <a:gdLst>
                <a:gd name="T0" fmla="*/ 342 w 352"/>
                <a:gd name="T1" fmla="*/ 201 h 448"/>
                <a:gd name="T2" fmla="*/ 304 w 352"/>
                <a:gd name="T3" fmla="*/ 148 h 448"/>
                <a:gd name="T4" fmla="*/ 302 w 352"/>
                <a:gd name="T5" fmla="*/ 146 h 448"/>
                <a:gd name="T6" fmla="*/ 216 w 352"/>
                <a:gd name="T7" fmla="*/ 74 h 448"/>
                <a:gd name="T8" fmla="*/ 215 w 352"/>
                <a:gd name="T9" fmla="*/ 73 h 448"/>
                <a:gd name="T10" fmla="*/ 182 w 352"/>
                <a:gd name="T11" fmla="*/ 46 h 448"/>
                <a:gd name="T12" fmla="*/ 155 w 352"/>
                <a:gd name="T13" fmla="*/ 23 h 448"/>
                <a:gd name="T14" fmla="*/ 85 w 352"/>
                <a:gd name="T15" fmla="*/ 4 h 448"/>
                <a:gd name="T16" fmla="*/ 23 w 352"/>
                <a:gd name="T17" fmla="*/ 43 h 448"/>
                <a:gd name="T18" fmla="*/ 33 w 352"/>
                <a:gd name="T19" fmla="*/ 155 h 448"/>
                <a:gd name="T20" fmla="*/ 35 w 352"/>
                <a:gd name="T21" fmla="*/ 157 h 448"/>
                <a:gd name="T22" fmla="*/ 118 w 352"/>
                <a:gd name="T23" fmla="*/ 226 h 448"/>
                <a:gd name="T24" fmla="*/ 28 w 352"/>
                <a:gd name="T25" fmla="*/ 303 h 448"/>
                <a:gd name="T26" fmla="*/ 25 w 352"/>
                <a:gd name="T27" fmla="*/ 306 h 448"/>
                <a:gd name="T28" fmla="*/ 30 w 352"/>
                <a:gd name="T29" fmla="*/ 417 h 448"/>
                <a:gd name="T30" fmla="*/ 31 w 352"/>
                <a:gd name="T31" fmla="*/ 419 h 448"/>
                <a:gd name="T32" fmla="*/ 98 w 352"/>
                <a:gd name="T33" fmla="*/ 448 h 448"/>
                <a:gd name="T34" fmla="*/ 148 w 352"/>
                <a:gd name="T35" fmla="*/ 432 h 448"/>
                <a:gd name="T36" fmla="*/ 209 w 352"/>
                <a:gd name="T37" fmla="*/ 383 h 448"/>
                <a:gd name="T38" fmla="*/ 223 w 352"/>
                <a:gd name="T39" fmla="*/ 371 h 448"/>
                <a:gd name="T40" fmla="*/ 268 w 352"/>
                <a:gd name="T41" fmla="*/ 333 h 448"/>
                <a:gd name="T42" fmla="*/ 312 w 352"/>
                <a:gd name="T43" fmla="*/ 296 h 448"/>
                <a:gd name="T44" fmla="*/ 342 w 352"/>
                <a:gd name="T45" fmla="*/ 20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2" h="448">
                  <a:moveTo>
                    <a:pt x="342" y="201"/>
                  </a:moveTo>
                  <a:cubicBezTo>
                    <a:pt x="336" y="175"/>
                    <a:pt x="318" y="159"/>
                    <a:pt x="304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73" y="122"/>
                    <a:pt x="244" y="98"/>
                    <a:pt x="216" y="74"/>
                  </a:cubicBezTo>
                  <a:cubicBezTo>
                    <a:pt x="215" y="73"/>
                    <a:pt x="215" y="73"/>
                    <a:pt x="215" y="73"/>
                  </a:cubicBezTo>
                  <a:cubicBezTo>
                    <a:pt x="204" y="64"/>
                    <a:pt x="193" y="55"/>
                    <a:pt x="182" y="46"/>
                  </a:cubicBezTo>
                  <a:cubicBezTo>
                    <a:pt x="173" y="38"/>
                    <a:pt x="164" y="30"/>
                    <a:pt x="155" y="23"/>
                  </a:cubicBezTo>
                  <a:cubicBezTo>
                    <a:pt x="135" y="7"/>
                    <a:pt x="110" y="0"/>
                    <a:pt x="85" y="4"/>
                  </a:cubicBezTo>
                  <a:cubicBezTo>
                    <a:pt x="60" y="8"/>
                    <a:pt x="37" y="22"/>
                    <a:pt x="23" y="43"/>
                  </a:cubicBezTo>
                  <a:cubicBezTo>
                    <a:pt x="0" y="78"/>
                    <a:pt x="4" y="123"/>
                    <a:pt x="33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118" y="226"/>
                    <a:pt x="118" y="226"/>
                    <a:pt x="118" y="226"/>
                  </a:cubicBezTo>
                  <a:cubicBezTo>
                    <a:pt x="28" y="303"/>
                    <a:pt x="28" y="303"/>
                    <a:pt x="28" y="303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1" y="339"/>
                    <a:pt x="3" y="384"/>
                    <a:pt x="30" y="417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49" y="438"/>
                    <a:pt x="73" y="448"/>
                    <a:pt x="98" y="448"/>
                  </a:cubicBezTo>
                  <a:cubicBezTo>
                    <a:pt x="116" y="448"/>
                    <a:pt x="133" y="443"/>
                    <a:pt x="148" y="432"/>
                  </a:cubicBezTo>
                  <a:cubicBezTo>
                    <a:pt x="170" y="416"/>
                    <a:pt x="190" y="399"/>
                    <a:pt x="209" y="383"/>
                  </a:cubicBezTo>
                  <a:cubicBezTo>
                    <a:pt x="214" y="379"/>
                    <a:pt x="218" y="375"/>
                    <a:pt x="223" y="371"/>
                  </a:cubicBezTo>
                  <a:cubicBezTo>
                    <a:pt x="238" y="359"/>
                    <a:pt x="253" y="346"/>
                    <a:pt x="268" y="333"/>
                  </a:cubicBezTo>
                  <a:cubicBezTo>
                    <a:pt x="282" y="321"/>
                    <a:pt x="297" y="308"/>
                    <a:pt x="312" y="296"/>
                  </a:cubicBezTo>
                  <a:cubicBezTo>
                    <a:pt x="340" y="273"/>
                    <a:pt x="352" y="236"/>
                    <a:pt x="342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629E587D-C000-4F0F-838E-64BAB0DBDF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01" y="3490045"/>
              <a:ext cx="278131" cy="393205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5" name="Grafik 4">
            <a:extLst>
              <a:ext uri="{FF2B5EF4-FFF2-40B4-BE49-F238E27FC236}">
                <a16:creationId xmlns:a16="http://schemas.microsoft.com/office/drawing/2014/main" id="{B7B3EC92-808B-8DA9-BC3E-97E09071C0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11600" y="2242800"/>
            <a:ext cx="698400" cy="698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D08DA142-7F85-51AD-0A0E-2DEDE8674A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63600" y="2242800"/>
            <a:ext cx="698238" cy="698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018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9CA1D0-5365-42A6-94EA-D8D67A4C4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mit verschiedenen Option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9B9A6F3-17FF-4B66-8679-934B3F8F4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DA8906-78C4-4DB8-BD77-09193B3C71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8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8E115ED-C6E9-4BEF-9BCF-95E2B43AE21D}"/>
              </a:ext>
            </a:extLst>
          </p:cNvPr>
          <p:cNvSpPr/>
          <p:nvPr/>
        </p:nvSpPr>
        <p:spPr>
          <a:xfrm>
            <a:off x="443992" y="3465140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415B6AB-373D-4F3B-821F-D1064AD36CFC}"/>
              </a:ext>
            </a:extLst>
          </p:cNvPr>
          <p:cNvSpPr/>
          <p:nvPr/>
        </p:nvSpPr>
        <p:spPr>
          <a:xfrm>
            <a:off x="2676240" y="3465140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E68838B-C1DC-4543-8E67-09006107E58B}"/>
              </a:ext>
            </a:extLst>
          </p:cNvPr>
          <p:cNvSpPr/>
          <p:nvPr/>
        </p:nvSpPr>
        <p:spPr>
          <a:xfrm>
            <a:off x="10164452" y="3465140"/>
            <a:ext cx="1583556" cy="1224000"/>
          </a:xfrm>
          <a:prstGeom prst="rect">
            <a:avLst/>
          </a:prstGeom>
          <a:solidFill>
            <a:schemeClr val="tx2"/>
          </a:solidFill>
          <a:ln w="7620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ex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C58D49-833C-4809-9FF4-E7D5FA1FEF4B}"/>
              </a:ext>
            </a:extLst>
          </p:cNvPr>
          <p:cNvSpPr/>
          <p:nvPr/>
        </p:nvSpPr>
        <p:spPr>
          <a:xfrm>
            <a:off x="4331804" y="1916968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6E54C76-3678-43C4-B9FB-2A91B06FB60F}"/>
              </a:ext>
            </a:extLst>
          </p:cNvPr>
          <p:cNvSpPr/>
          <p:nvPr/>
        </p:nvSpPr>
        <p:spPr>
          <a:xfrm>
            <a:off x="6420346" y="1916968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554B69C-AF72-4C91-AAEE-778BC4D30C14}"/>
              </a:ext>
            </a:extLst>
          </p:cNvPr>
          <p:cNvSpPr/>
          <p:nvPr/>
        </p:nvSpPr>
        <p:spPr>
          <a:xfrm>
            <a:off x="8508888" y="1916968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48EB97E-6FCF-409F-9723-DFFFC58C3851}"/>
              </a:ext>
            </a:extLst>
          </p:cNvPr>
          <p:cNvSpPr/>
          <p:nvPr/>
        </p:nvSpPr>
        <p:spPr>
          <a:xfrm>
            <a:off x="4331804" y="5013312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8CF8A81-A848-4A85-A8AD-4B5E150EEEC4}"/>
              </a:ext>
            </a:extLst>
          </p:cNvPr>
          <p:cNvSpPr/>
          <p:nvPr/>
        </p:nvSpPr>
        <p:spPr>
          <a:xfrm>
            <a:off x="6420346" y="5013312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32E2278-351D-496B-9969-3C082841A928}"/>
              </a:ext>
            </a:extLst>
          </p:cNvPr>
          <p:cNvSpPr/>
          <p:nvPr/>
        </p:nvSpPr>
        <p:spPr>
          <a:xfrm>
            <a:off x="8508888" y="5013312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48B043B-19C8-4AE8-BA1C-3C181235C110}"/>
              </a:ext>
            </a:extLst>
          </p:cNvPr>
          <p:cNvCxnSpPr>
            <a:cxnSpLocks/>
          </p:cNvCxnSpPr>
          <p:nvPr/>
        </p:nvCxnSpPr>
        <p:spPr>
          <a:xfrm>
            <a:off x="5987853" y="2528968"/>
            <a:ext cx="360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F9E0ACD9-6EEB-491A-9785-F7104EEB14EE}"/>
              </a:ext>
            </a:extLst>
          </p:cNvPr>
          <p:cNvSpPr/>
          <p:nvPr/>
        </p:nvSpPr>
        <p:spPr>
          <a:xfrm>
            <a:off x="3468757" y="2524539"/>
            <a:ext cx="792000" cy="864000"/>
          </a:xfrm>
          <a:custGeom>
            <a:avLst/>
            <a:gdLst>
              <a:gd name="connsiteX0" fmla="*/ 0 w 745434"/>
              <a:gd name="connsiteY0" fmla="*/ 864704 h 864704"/>
              <a:gd name="connsiteX1" fmla="*/ 0 w 745434"/>
              <a:gd name="connsiteY1" fmla="*/ 0 h 864704"/>
              <a:gd name="connsiteX2" fmla="*/ 745434 w 745434"/>
              <a:gd name="connsiteY2" fmla="*/ 0 h 86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5434" h="864704">
                <a:moveTo>
                  <a:pt x="0" y="864704"/>
                </a:moveTo>
                <a:lnTo>
                  <a:pt x="0" y="0"/>
                </a:lnTo>
                <a:lnTo>
                  <a:pt x="745434" y="0"/>
                </a:lnTo>
              </a:path>
            </a:pathLst>
          </a:cu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FB436483-20B0-49AF-A20C-EE4633B19675}"/>
              </a:ext>
            </a:extLst>
          </p:cNvPr>
          <p:cNvSpPr/>
          <p:nvPr/>
        </p:nvSpPr>
        <p:spPr>
          <a:xfrm flipV="1">
            <a:off x="3468757" y="4761148"/>
            <a:ext cx="792000" cy="864000"/>
          </a:xfrm>
          <a:custGeom>
            <a:avLst/>
            <a:gdLst>
              <a:gd name="connsiteX0" fmla="*/ 0 w 745434"/>
              <a:gd name="connsiteY0" fmla="*/ 864704 h 864704"/>
              <a:gd name="connsiteX1" fmla="*/ 0 w 745434"/>
              <a:gd name="connsiteY1" fmla="*/ 0 h 864704"/>
              <a:gd name="connsiteX2" fmla="*/ 745434 w 745434"/>
              <a:gd name="connsiteY2" fmla="*/ 0 h 86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5434" h="864704">
                <a:moveTo>
                  <a:pt x="0" y="864704"/>
                </a:moveTo>
                <a:lnTo>
                  <a:pt x="0" y="0"/>
                </a:lnTo>
                <a:lnTo>
                  <a:pt x="745434" y="0"/>
                </a:lnTo>
              </a:path>
            </a:pathLst>
          </a:cu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83092EB-BC53-4703-9231-E7B172707613}"/>
              </a:ext>
            </a:extLst>
          </p:cNvPr>
          <p:cNvCxnSpPr>
            <a:cxnSpLocks/>
          </p:cNvCxnSpPr>
          <p:nvPr/>
        </p:nvCxnSpPr>
        <p:spPr>
          <a:xfrm>
            <a:off x="8076395" y="2528968"/>
            <a:ext cx="360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F1D1E5A3-3373-4446-9139-E2F63724AA75}"/>
              </a:ext>
            </a:extLst>
          </p:cNvPr>
          <p:cNvCxnSpPr>
            <a:cxnSpLocks/>
          </p:cNvCxnSpPr>
          <p:nvPr/>
        </p:nvCxnSpPr>
        <p:spPr>
          <a:xfrm>
            <a:off x="5987853" y="5625312"/>
            <a:ext cx="360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C3DE17BE-E593-4610-876A-8C89CE42F557}"/>
              </a:ext>
            </a:extLst>
          </p:cNvPr>
          <p:cNvCxnSpPr>
            <a:cxnSpLocks/>
          </p:cNvCxnSpPr>
          <p:nvPr/>
        </p:nvCxnSpPr>
        <p:spPr>
          <a:xfrm>
            <a:off x="8076395" y="5625312"/>
            <a:ext cx="360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reihandform: Form 31">
            <a:extLst>
              <a:ext uri="{FF2B5EF4-FFF2-40B4-BE49-F238E27FC236}">
                <a16:creationId xmlns:a16="http://schemas.microsoft.com/office/drawing/2014/main" id="{63E11EFD-0170-492C-816A-D26BF4EE4DED}"/>
              </a:ext>
            </a:extLst>
          </p:cNvPr>
          <p:cNvSpPr/>
          <p:nvPr/>
        </p:nvSpPr>
        <p:spPr>
          <a:xfrm rot="5400000">
            <a:off x="10131199" y="2563198"/>
            <a:ext cx="859571" cy="791110"/>
          </a:xfrm>
          <a:custGeom>
            <a:avLst/>
            <a:gdLst>
              <a:gd name="connsiteX0" fmla="*/ 0 w 745434"/>
              <a:gd name="connsiteY0" fmla="*/ 864704 h 864704"/>
              <a:gd name="connsiteX1" fmla="*/ 0 w 745434"/>
              <a:gd name="connsiteY1" fmla="*/ 0 h 864704"/>
              <a:gd name="connsiteX2" fmla="*/ 745434 w 745434"/>
              <a:gd name="connsiteY2" fmla="*/ 0 h 86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5434" h="864704">
                <a:moveTo>
                  <a:pt x="0" y="864704"/>
                </a:moveTo>
                <a:lnTo>
                  <a:pt x="0" y="0"/>
                </a:lnTo>
                <a:lnTo>
                  <a:pt x="745434" y="0"/>
                </a:lnTo>
              </a:path>
            </a:pathLst>
          </a:cu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2CDD57CB-CB28-47F3-A6AD-ADD1AA0D6E1F}"/>
              </a:ext>
            </a:extLst>
          </p:cNvPr>
          <p:cNvSpPr/>
          <p:nvPr/>
        </p:nvSpPr>
        <p:spPr>
          <a:xfrm rot="16200000" flipV="1">
            <a:off x="10131199" y="4799971"/>
            <a:ext cx="859571" cy="791110"/>
          </a:xfrm>
          <a:custGeom>
            <a:avLst/>
            <a:gdLst>
              <a:gd name="connsiteX0" fmla="*/ 0 w 745434"/>
              <a:gd name="connsiteY0" fmla="*/ 864704 h 864704"/>
              <a:gd name="connsiteX1" fmla="*/ 0 w 745434"/>
              <a:gd name="connsiteY1" fmla="*/ 0 h 864704"/>
              <a:gd name="connsiteX2" fmla="*/ 745434 w 745434"/>
              <a:gd name="connsiteY2" fmla="*/ 0 h 86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5434" h="864704">
                <a:moveTo>
                  <a:pt x="0" y="864704"/>
                </a:moveTo>
                <a:lnTo>
                  <a:pt x="0" y="0"/>
                </a:lnTo>
                <a:lnTo>
                  <a:pt x="745434" y="0"/>
                </a:lnTo>
              </a:path>
            </a:pathLst>
          </a:cu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BE81C1DA-6993-401B-9FC7-36F137835AAA}"/>
              </a:ext>
            </a:extLst>
          </p:cNvPr>
          <p:cNvCxnSpPr>
            <a:cxnSpLocks/>
          </p:cNvCxnSpPr>
          <p:nvPr/>
        </p:nvCxnSpPr>
        <p:spPr>
          <a:xfrm>
            <a:off x="2099894" y="4077140"/>
            <a:ext cx="504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4942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9CA1D0-5365-42A6-94EA-D8D67A4C4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mit verschiedenen Option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9B9A6F3-17FF-4B66-8679-934B3F8F4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DA8906-78C4-4DB8-BD77-09193B3C71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9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C58D49-833C-4809-9FF4-E7D5FA1FEF4B}"/>
              </a:ext>
            </a:extLst>
          </p:cNvPr>
          <p:cNvSpPr/>
          <p:nvPr/>
        </p:nvSpPr>
        <p:spPr>
          <a:xfrm>
            <a:off x="3468018" y="1844828"/>
            <a:ext cx="1583556" cy="1116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t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6E54C76-3678-43C4-B9FB-2A91B06FB60F}"/>
              </a:ext>
            </a:extLst>
          </p:cNvPr>
          <p:cNvSpPr/>
          <p:nvPr/>
        </p:nvSpPr>
        <p:spPr>
          <a:xfrm>
            <a:off x="5556250" y="1844828"/>
            <a:ext cx="1583556" cy="1116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t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554B69C-AF72-4C91-AAEE-778BC4D30C14}"/>
              </a:ext>
            </a:extLst>
          </p:cNvPr>
          <p:cNvSpPr/>
          <p:nvPr/>
        </p:nvSpPr>
        <p:spPr>
          <a:xfrm>
            <a:off x="7644792" y="1849789"/>
            <a:ext cx="1583556" cy="1116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t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48EB97E-6FCF-409F-9723-DFFFC58C3851}"/>
              </a:ext>
            </a:extLst>
          </p:cNvPr>
          <p:cNvSpPr/>
          <p:nvPr/>
        </p:nvSpPr>
        <p:spPr>
          <a:xfrm>
            <a:off x="3468018" y="5193316"/>
            <a:ext cx="1583556" cy="1080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b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8CF8A81-A848-4A85-A8AD-4B5E150EEEC4}"/>
              </a:ext>
            </a:extLst>
          </p:cNvPr>
          <p:cNvSpPr/>
          <p:nvPr/>
        </p:nvSpPr>
        <p:spPr>
          <a:xfrm>
            <a:off x="5556250" y="5193316"/>
            <a:ext cx="1583556" cy="1080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b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32E2278-351D-496B-9969-3C082841A928}"/>
              </a:ext>
            </a:extLst>
          </p:cNvPr>
          <p:cNvSpPr/>
          <p:nvPr/>
        </p:nvSpPr>
        <p:spPr>
          <a:xfrm>
            <a:off x="7644792" y="5193316"/>
            <a:ext cx="1583556" cy="1080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b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FE058D0A-57C7-461D-BEBF-2B92AA3155A1}"/>
              </a:ext>
            </a:extLst>
          </p:cNvPr>
          <p:cNvSpPr/>
          <p:nvPr/>
        </p:nvSpPr>
        <p:spPr>
          <a:xfrm>
            <a:off x="4944952" y="314099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CD860FE2-4AA6-4235-BDAE-D30F36F1BC63}"/>
              </a:ext>
            </a:extLst>
          </p:cNvPr>
          <p:cNvSpPr/>
          <p:nvPr/>
        </p:nvSpPr>
        <p:spPr>
          <a:xfrm>
            <a:off x="7033184" y="314099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C2E7760D-48A4-42AD-A28A-B22D51C0AE19}"/>
              </a:ext>
            </a:extLst>
          </p:cNvPr>
          <p:cNvSpPr/>
          <p:nvPr/>
        </p:nvSpPr>
        <p:spPr>
          <a:xfrm>
            <a:off x="9121726" y="314099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BAAEE970-681C-4A9A-8F5D-325C85DCD850}"/>
              </a:ext>
            </a:extLst>
          </p:cNvPr>
          <p:cNvSpPr/>
          <p:nvPr/>
        </p:nvSpPr>
        <p:spPr>
          <a:xfrm>
            <a:off x="4944952" y="479715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48D749FC-3E25-430C-A0F5-E9A30AEA376A}"/>
              </a:ext>
            </a:extLst>
          </p:cNvPr>
          <p:cNvSpPr/>
          <p:nvPr/>
        </p:nvSpPr>
        <p:spPr>
          <a:xfrm>
            <a:off x="7033184" y="479715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4E3B2701-CB8F-4A95-AFF5-FEAC5AB7E78A}"/>
              </a:ext>
            </a:extLst>
          </p:cNvPr>
          <p:cNvSpPr/>
          <p:nvPr/>
        </p:nvSpPr>
        <p:spPr>
          <a:xfrm>
            <a:off x="9121726" y="479715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D16F2A09-617C-4244-8320-67E11EC05C0D}"/>
              </a:ext>
            </a:extLst>
          </p:cNvPr>
          <p:cNvSpPr/>
          <p:nvPr/>
        </p:nvSpPr>
        <p:spPr>
          <a:xfrm>
            <a:off x="2253556" y="396907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8DA4BB7F-A794-4EAE-9E93-90FCA4FD4624}"/>
              </a:ext>
            </a:extLst>
          </p:cNvPr>
          <p:cNvSpPr/>
          <p:nvPr/>
        </p:nvSpPr>
        <p:spPr>
          <a:xfrm>
            <a:off x="381968" y="396907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0FB26146-4CF7-4901-A6CD-750CD893102B}"/>
              </a:ext>
            </a:extLst>
          </p:cNvPr>
          <p:cNvSpPr/>
          <p:nvPr/>
        </p:nvSpPr>
        <p:spPr>
          <a:xfrm>
            <a:off x="10272464" y="3248993"/>
            <a:ext cx="1475612" cy="1656160"/>
          </a:xfrm>
          <a:prstGeom prst="rect">
            <a:avLst/>
          </a:prstGeom>
          <a:solidFill>
            <a:schemeClr val="tx2"/>
          </a:solidFill>
          <a:ln w="7620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chemeClr val="bg1"/>
                </a:solidFill>
                <a:latin typeface="+mj-lt"/>
              </a:rPr>
              <a:t>Lorem</a:t>
            </a:r>
            <a:r>
              <a:rPr lang="de-DE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+mj-lt"/>
              </a:rPr>
              <a:t>ipsum</a:t>
            </a:r>
            <a:endParaRPr lang="de-DE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3322F924-2F1D-4CAF-8D7D-AC716815173E}"/>
              </a:ext>
            </a:extLst>
          </p:cNvPr>
          <p:cNvCxnSpPr>
            <a:stCxn id="23" idx="6"/>
            <a:endCxn id="22" idx="2"/>
          </p:cNvCxnSpPr>
          <p:nvPr/>
        </p:nvCxnSpPr>
        <p:spPr>
          <a:xfrm>
            <a:off x="597968" y="4077072"/>
            <a:ext cx="1655588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Verbinder: gewinkelt 27">
            <a:extLst>
              <a:ext uri="{FF2B5EF4-FFF2-40B4-BE49-F238E27FC236}">
                <a16:creationId xmlns:a16="http://schemas.microsoft.com/office/drawing/2014/main" id="{54824836-0FB9-497A-B417-F0CDFB33FB3A}"/>
              </a:ext>
            </a:extLst>
          </p:cNvPr>
          <p:cNvCxnSpPr>
            <a:cxnSpLocks/>
            <a:stCxn id="22" idx="6"/>
            <a:endCxn id="16" idx="2"/>
          </p:cNvCxnSpPr>
          <p:nvPr/>
        </p:nvCxnSpPr>
        <p:spPr>
          <a:xfrm flipV="1">
            <a:off x="2469556" y="3248992"/>
            <a:ext cx="2475396" cy="82808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Verbinder: gewinkelt 28">
            <a:extLst>
              <a:ext uri="{FF2B5EF4-FFF2-40B4-BE49-F238E27FC236}">
                <a16:creationId xmlns:a16="http://schemas.microsoft.com/office/drawing/2014/main" id="{98A41F57-A1C4-428A-B9F1-DC87403C9824}"/>
              </a:ext>
            </a:extLst>
          </p:cNvPr>
          <p:cNvCxnSpPr>
            <a:cxnSpLocks/>
            <a:stCxn id="22" idx="6"/>
            <a:endCxn id="19" idx="2"/>
          </p:cNvCxnSpPr>
          <p:nvPr/>
        </p:nvCxnSpPr>
        <p:spPr>
          <a:xfrm>
            <a:off x="2469556" y="4077072"/>
            <a:ext cx="2475396" cy="82808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014E6FD1-EBD5-4BEA-B8DF-21CC27F512F5}"/>
              </a:ext>
            </a:extLst>
          </p:cNvPr>
          <p:cNvCxnSpPr>
            <a:cxnSpLocks/>
            <a:stCxn id="16" idx="6"/>
            <a:endCxn id="17" idx="2"/>
          </p:cNvCxnSpPr>
          <p:nvPr/>
        </p:nvCxnSpPr>
        <p:spPr>
          <a:xfrm>
            <a:off x="5160952" y="3248992"/>
            <a:ext cx="1872232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EF0A13CC-1D78-4165-A8ED-60FFCA74169C}"/>
              </a:ext>
            </a:extLst>
          </p:cNvPr>
          <p:cNvCxnSpPr>
            <a:cxnSpLocks/>
            <a:stCxn id="17" idx="6"/>
            <a:endCxn id="18" idx="2"/>
          </p:cNvCxnSpPr>
          <p:nvPr/>
        </p:nvCxnSpPr>
        <p:spPr>
          <a:xfrm>
            <a:off x="7249184" y="3248992"/>
            <a:ext cx="1872542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499DB35C-6AF3-48E5-B4D5-7F41E5279734}"/>
              </a:ext>
            </a:extLst>
          </p:cNvPr>
          <p:cNvCxnSpPr>
            <a:cxnSpLocks/>
            <a:stCxn id="20" idx="6"/>
            <a:endCxn id="21" idx="2"/>
          </p:cNvCxnSpPr>
          <p:nvPr/>
        </p:nvCxnSpPr>
        <p:spPr>
          <a:xfrm>
            <a:off x="7249184" y="4905152"/>
            <a:ext cx="1872542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2670FA1B-06E6-489A-BC3A-6CB6E7FD9D64}"/>
              </a:ext>
            </a:extLst>
          </p:cNvPr>
          <p:cNvCxnSpPr>
            <a:cxnSpLocks/>
            <a:stCxn id="19" idx="6"/>
            <a:endCxn id="20" idx="2"/>
          </p:cNvCxnSpPr>
          <p:nvPr/>
        </p:nvCxnSpPr>
        <p:spPr>
          <a:xfrm>
            <a:off x="5160952" y="4905152"/>
            <a:ext cx="1872232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0F36B518-4C3B-4226-8982-B0FC1AC97DAF}"/>
              </a:ext>
            </a:extLst>
          </p:cNvPr>
          <p:cNvCxnSpPr>
            <a:cxnSpLocks/>
            <a:stCxn id="18" idx="6"/>
          </p:cNvCxnSpPr>
          <p:nvPr/>
        </p:nvCxnSpPr>
        <p:spPr>
          <a:xfrm>
            <a:off x="9337726" y="3248992"/>
            <a:ext cx="862730" cy="828079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Verbinder: gewinkelt 48">
            <a:extLst>
              <a:ext uri="{FF2B5EF4-FFF2-40B4-BE49-F238E27FC236}">
                <a16:creationId xmlns:a16="http://schemas.microsoft.com/office/drawing/2014/main" id="{79D2EF78-AC12-4F90-B187-4B65C62BDB84}"/>
              </a:ext>
            </a:extLst>
          </p:cNvPr>
          <p:cNvCxnSpPr>
            <a:cxnSpLocks/>
            <a:stCxn id="21" idx="6"/>
          </p:cNvCxnSpPr>
          <p:nvPr/>
        </p:nvCxnSpPr>
        <p:spPr>
          <a:xfrm flipV="1">
            <a:off x="9337726" y="4077071"/>
            <a:ext cx="862730" cy="828081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DDB3DD61-4EF4-414A-A0B8-FD0C14662630}"/>
              </a:ext>
            </a:extLst>
          </p:cNvPr>
          <p:cNvCxnSpPr>
            <a:cxnSpLocks/>
          </p:cNvCxnSpPr>
          <p:nvPr/>
        </p:nvCxnSpPr>
        <p:spPr>
          <a:xfrm flipV="1">
            <a:off x="5051876" y="188118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016BD905-7503-4073-A4B3-BC14D26A7190}"/>
              </a:ext>
            </a:extLst>
          </p:cNvPr>
          <p:cNvCxnSpPr>
            <a:cxnSpLocks/>
          </p:cNvCxnSpPr>
          <p:nvPr/>
        </p:nvCxnSpPr>
        <p:spPr>
          <a:xfrm flipV="1">
            <a:off x="7140108" y="188118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545B38CE-7904-41CD-9DE3-F1727A53CD0A}"/>
              </a:ext>
            </a:extLst>
          </p:cNvPr>
          <p:cNvCxnSpPr>
            <a:cxnSpLocks/>
          </p:cNvCxnSpPr>
          <p:nvPr/>
        </p:nvCxnSpPr>
        <p:spPr>
          <a:xfrm flipV="1">
            <a:off x="9228650" y="188118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6D69BAA9-39C5-47C6-8CEC-6C002FE2124B}"/>
              </a:ext>
            </a:extLst>
          </p:cNvPr>
          <p:cNvCxnSpPr>
            <a:cxnSpLocks/>
          </p:cNvCxnSpPr>
          <p:nvPr/>
        </p:nvCxnSpPr>
        <p:spPr>
          <a:xfrm flipV="1">
            <a:off x="5051884" y="508530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AD61993C-67F9-4A3F-84E8-931CF23194A4}"/>
              </a:ext>
            </a:extLst>
          </p:cNvPr>
          <p:cNvCxnSpPr>
            <a:cxnSpLocks/>
          </p:cNvCxnSpPr>
          <p:nvPr/>
        </p:nvCxnSpPr>
        <p:spPr>
          <a:xfrm flipV="1">
            <a:off x="7140108" y="508530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ACD813DF-069F-47C8-9EF8-1E5DA56AD5CA}"/>
              </a:ext>
            </a:extLst>
          </p:cNvPr>
          <p:cNvCxnSpPr>
            <a:cxnSpLocks/>
          </p:cNvCxnSpPr>
          <p:nvPr/>
        </p:nvCxnSpPr>
        <p:spPr>
          <a:xfrm flipV="1">
            <a:off x="9228650" y="508530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21BCB6C4-9250-4E1E-92F7-9AB896B2E96B}"/>
              </a:ext>
            </a:extLst>
          </p:cNvPr>
          <p:cNvSpPr/>
          <p:nvPr/>
        </p:nvSpPr>
        <p:spPr>
          <a:xfrm>
            <a:off x="767408" y="4329220"/>
            <a:ext cx="1583556" cy="1080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b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DD67A233-17F9-4E55-8A5B-DC6D64E089B4}"/>
              </a:ext>
            </a:extLst>
          </p:cNvPr>
          <p:cNvCxnSpPr>
            <a:cxnSpLocks/>
          </p:cNvCxnSpPr>
          <p:nvPr/>
        </p:nvCxnSpPr>
        <p:spPr>
          <a:xfrm flipH="1" flipV="1">
            <a:off x="2352196" y="4221316"/>
            <a:ext cx="16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ED490508-9BA5-4147-A230-717882DA9C95}"/>
              </a:ext>
            </a:extLst>
          </p:cNvPr>
          <p:cNvSpPr/>
          <p:nvPr/>
        </p:nvSpPr>
        <p:spPr>
          <a:xfrm>
            <a:off x="479376" y="2708920"/>
            <a:ext cx="1583556" cy="1116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t" anchorCtr="0"/>
          <a:lstStyle/>
          <a:p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6BB9E12D-6ECB-4CD9-A2C4-D76994E054D9}"/>
              </a:ext>
            </a:extLst>
          </p:cNvPr>
          <p:cNvCxnSpPr>
            <a:cxnSpLocks/>
          </p:cNvCxnSpPr>
          <p:nvPr/>
        </p:nvCxnSpPr>
        <p:spPr>
          <a:xfrm flipV="1">
            <a:off x="479376" y="2745052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Grafik 38">
            <a:extLst>
              <a:ext uri="{FF2B5EF4-FFF2-40B4-BE49-F238E27FC236}">
                <a16:creationId xmlns:a16="http://schemas.microsoft.com/office/drawing/2014/main" id="{32B6BBD6-8B66-4629-9D0B-05C11ED084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96884" y="3655946"/>
            <a:ext cx="842254" cy="842254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24C5AFC9-AC39-1C66-836E-206094DF2F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40400" y="3657600"/>
            <a:ext cx="842400" cy="842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723C7413-1415-9823-00CE-6ABA7508F3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28400" y="3657600"/>
            <a:ext cx="842400" cy="8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975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6" name="Bildplatzhalter 5" descr="Ein Bild, das Person, Im Haus, Tisch, Esstisch enthält.&#10;&#10;Automatisch generierte Beschreibung">
            <a:extLst>
              <a:ext uri="{FF2B5EF4-FFF2-40B4-BE49-F238E27FC236}">
                <a16:creationId xmlns:a16="http://schemas.microsoft.com/office/drawing/2014/main" id="{41B8CF05-F337-77F6-5DF6-26B9FF7CF41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76840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5A36EDE9-ED72-46D9-98EB-C23D8FE70826}"/>
              </a:ext>
            </a:extLst>
          </p:cNvPr>
          <p:cNvCxnSpPr>
            <a:cxnSpLocks/>
          </p:cNvCxnSpPr>
          <p:nvPr/>
        </p:nvCxnSpPr>
        <p:spPr>
          <a:xfrm>
            <a:off x="407988" y="4088009"/>
            <a:ext cx="11376025" cy="0"/>
          </a:xfrm>
          <a:prstGeom prst="line">
            <a:avLst/>
          </a:prstGeom>
          <a:ln w="57150" cap="rnd">
            <a:round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69D1B1BF-617B-4ADB-BF27-4A8ADE9E9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– Sechs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D9DADC-7272-4B75-A7D7-C3E78CA09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D67317-FED3-4280-8192-87A2CED40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0</a:t>
            </a:fld>
            <a:endParaRPr lang="de-DE" dirty="0"/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938229AA-5C80-453D-ACB7-6BEA7E29272C}"/>
              </a:ext>
            </a:extLst>
          </p:cNvPr>
          <p:cNvCxnSpPr>
            <a:cxnSpLocks/>
          </p:cNvCxnSpPr>
          <p:nvPr/>
        </p:nvCxnSpPr>
        <p:spPr>
          <a:xfrm flipV="1">
            <a:off x="803387" y="4338553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547D32E5-F9C5-4260-8AB5-B37C5ABC67ED}"/>
              </a:ext>
            </a:extLst>
          </p:cNvPr>
          <p:cNvCxnSpPr>
            <a:cxnSpLocks/>
          </p:cNvCxnSpPr>
          <p:nvPr/>
        </p:nvCxnSpPr>
        <p:spPr>
          <a:xfrm flipV="1">
            <a:off x="2852081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25B45C6A-DF9C-4D04-A7A9-EA27D69030B2}"/>
              </a:ext>
            </a:extLst>
          </p:cNvPr>
          <p:cNvCxnSpPr>
            <a:cxnSpLocks/>
          </p:cNvCxnSpPr>
          <p:nvPr/>
        </p:nvCxnSpPr>
        <p:spPr>
          <a:xfrm flipV="1">
            <a:off x="6949469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F7C789AD-998E-4758-902F-A627FEDC4D8D}"/>
              </a:ext>
            </a:extLst>
          </p:cNvPr>
          <p:cNvCxnSpPr>
            <a:cxnSpLocks/>
          </p:cNvCxnSpPr>
          <p:nvPr/>
        </p:nvCxnSpPr>
        <p:spPr>
          <a:xfrm flipV="1">
            <a:off x="11046856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0C7B7843-6E47-45CA-A2D9-9D6CB57232EE}"/>
              </a:ext>
            </a:extLst>
          </p:cNvPr>
          <p:cNvCxnSpPr>
            <a:cxnSpLocks/>
          </p:cNvCxnSpPr>
          <p:nvPr/>
        </p:nvCxnSpPr>
        <p:spPr>
          <a:xfrm flipV="1">
            <a:off x="4900775" y="4338553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EBA9BF83-5D3C-4881-A232-BF2540DDD495}"/>
              </a:ext>
            </a:extLst>
          </p:cNvPr>
          <p:cNvCxnSpPr>
            <a:cxnSpLocks/>
          </p:cNvCxnSpPr>
          <p:nvPr/>
        </p:nvCxnSpPr>
        <p:spPr>
          <a:xfrm flipV="1">
            <a:off x="8998163" y="4338553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5A49F3AD-1541-482D-A220-07B1182582FB}"/>
              </a:ext>
            </a:extLst>
          </p:cNvPr>
          <p:cNvSpPr txBox="1">
            <a:spLocks/>
          </p:cNvSpPr>
          <p:nvPr/>
        </p:nvSpPr>
        <p:spPr>
          <a:xfrm>
            <a:off x="767408" y="4797316"/>
            <a:ext cx="2448000" cy="14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64849394-50C3-49E9-B191-EC72D3CED38C}"/>
              </a:ext>
            </a:extLst>
          </p:cNvPr>
          <p:cNvSpPr txBox="1">
            <a:spLocks/>
          </p:cNvSpPr>
          <p:nvPr/>
        </p:nvSpPr>
        <p:spPr>
          <a:xfrm>
            <a:off x="4864797" y="4797316"/>
            <a:ext cx="2448000" cy="14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7860A263-051E-4E5B-83EF-00628D74B8F8}"/>
              </a:ext>
            </a:extLst>
          </p:cNvPr>
          <p:cNvSpPr txBox="1">
            <a:spLocks/>
          </p:cNvSpPr>
          <p:nvPr/>
        </p:nvSpPr>
        <p:spPr>
          <a:xfrm>
            <a:off x="8962185" y="4797316"/>
            <a:ext cx="2448000" cy="14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3FACEDF8-96D7-414C-993D-FC94E0F43D60}"/>
              </a:ext>
            </a:extLst>
          </p:cNvPr>
          <p:cNvSpPr txBox="1">
            <a:spLocks/>
          </p:cNvSpPr>
          <p:nvPr/>
        </p:nvSpPr>
        <p:spPr>
          <a:xfrm>
            <a:off x="1145762" y="1844824"/>
            <a:ext cx="2448000" cy="14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6E0DD9AB-E14A-49D2-9FC3-B515A1056A25}"/>
              </a:ext>
            </a:extLst>
          </p:cNvPr>
          <p:cNvSpPr txBox="1">
            <a:spLocks/>
          </p:cNvSpPr>
          <p:nvPr/>
        </p:nvSpPr>
        <p:spPr>
          <a:xfrm>
            <a:off x="5239245" y="1844824"/>
            <a:ext cx="2448000" cy="14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D1A54744-CC8E-4A72-ABE9-4C7C129C84B5}"/>
              </a:ext>
            </a:extLst>
          </p:cNvPr>
          <p:cNvSpPr txBox="1">
            <a:spLocks/>
          </p:cNvSpPr>
          <p:nvPr/>
        </p:nvSpPr>
        <p:spPr>
          <a:xfrm>
            <a:off x="9336632" y="1844824"/>
            <a:ext cx="2448000" cy="14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DB45D5F5-5A7D-440B-AA80-0D1CFD9F0E33}"/>
              </a:ext>
            </a:extLst>
          </p:cNvPr>
          <p:cNvSpPr/>
          <p:nvPr/>
        </p:nvSpPr>
        <p:spPr>
          <a:xfrm>
            <a:off x="587387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79F6ECBD-A3D0-46C8-B947-AC602C591AB9}"/>
              </a:ext>
            </a:extLst>
          </p:cNvPr>
          <p:cNvSpPr/>
          <p:nvPr/>
        </p:nvSpPr>
        <p:spPr>
          <a:xfrm>
            <a:off x="2636081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47A3D667-18D3-4D23-9E40-F43121D79778}"/>
              </a:ext>
            </a:extLst>
          </p:cNvPr>
          <p:cNvSpPr/>
          <p:nvPr/>
        </p:nvSpPr>
        <p:spPr>
          <a:xfrm>
            <a:off x="4684775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BBFF23DC-42EA-4401-9518-39A81630B253}"/>
              </a:ext>
            </a:extLst>
          </p:cNvPr>
          <p:cNvSpPr/>
          <p:nvPr/>
        </p:nvSpPr>
        <p:spPr>
          <a:xfrm>
            <a:off x="6733469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A3BB3F06-875B-4E8A-82C7-459336467BEE}"/>
              </a:ext>
            </a:extLst>
          </p:cNvPr>
          <p:cNvSpPr/>
          <p:nvPr/>
        </p:nvSpPr>
        <p:spPr>
          <a:xfrm>
            <a:off x="8782163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4FD7F4C4-184F-4618-A2DD-39AD8F419A65}"/>
              </a:ext>
            </a:extLst>
          </p:cNvPr>
          <p:cNvSpPr/>
          <p:nvPr/>
        </p:nvSpPr>
        <p:spPr>
          <a:xfrm>
            <a:off x="10830856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3695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D1B1BF-617B-4ADB-BF27-4A8ADE9E9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– Sechs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D9DADC-7272-4B75-A7D7-C3E78CA09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D67317-FED3-4280-8192-87A2CED40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1</a:t>
            </a:fld>
            <a:endParaRPr lang="de-DE" dirty="0"/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938229AA-5C80-453D-ACB7-6BEA7E29272C}"/>
              </a:ext>
            </a:extLst>
          </p:cNvPr>
          <p:cNvCxnSpPr>
            <a:cxnSpLocks/>
          </p:cNvCxnSpPr>
          <p:nvPr/>
        </p:nvCxnSpPr>
        <p:spPr>
          <a:xfrm flipV="1">
            <a:off x="803387" y="4338553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547D32E5-F9C5-4260-8AB5-B37C5ABC67ED}"/>
              </a:ext>
            </a:extLst>
          </p:cNvPr>
          <p:cNvCxnSpPr>
            <a:cxnSpLocks/>
          </p:cNvCxnSpPr>
          <p:nvPr/>
        </p:nvCxnSpPr>
        <p:spPr>
          <a:xfrm flipV="1">
            <a:off x="2852081" y="1881040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25B45C6A-DF9C-4D04-A7A9-EA27D69030B2}"/>
              </a:ext>
            </a:extLst>
          </p:cNvPr>
          <p:cNvCxnSpPr>
            <a:cxnSpLocks/>
          </p:cNvCxnSpPr>
          <p:nvPr/>
        </p:nvCxnSpPr>
        <p:spPr>
          <a:xfrm flipV="1">
            <a:off x="6949469" y="1881040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F7C789AD-998E-4758-902F-A627FEDC4D8D}"/>
              </a:ext>
            </a:extLst>
          </p:cNvPr>
          <p:cNvCxnSpPr>
            <a:cxnSpLocks/>
          </p:cNvCxnSpPr>
          <p:nvPr/>
        </p:nvCxnSpPr>
        <p:spPr>
          <a:xfrm flipV="1">
            <a:off x="11046856" y="1881040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0C7B7843-6E47-45CA-A2D9-9D6CB57232EE}"/>
              </a:ext>
            </a:extLst>
          </p:cNvPr>
          <p:cNvCxnSpPr>
            <a:cxnSpLocks/>
          </p:cNvCxnSpPr>
          <p:nvPr/>
        </p:nvCxnSpPr>
        <p:spPr>
          <a:xfrm flipV="1">
            <a:off x="4900775" y="4338553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EBA9BF83-5D3C-4881-A232-BF2540DDD495}"/>
              </a:ext>
            </a:extLst>
          </p:cNvPr>
          <p:cNvCxnSpPr>
            <a:cxnSpLocks/>
          </p:cNvCxnSpPr>
          <p:nvPr/>
        </p:nvCxnSpPr>
        <p:spPr>
          <a:xfrm flipV="1">
            <a:off x="8998163" y="4338553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5A49F3AD-1541-482D-A220-07B1182582FB}"/>
              </a:ext>
            </a:extLst>
          </p:cNvPr>
          <p:cNvSpPr txBox="1">
            <a:spLocks/>
          </p:cNvSpPr>
          <p:nvPr/>
        </p:nvSpPr>
        <p:spPr>
          <a:xfrm>
            <a:off x="817819" y="4797316"/>
            <a:ext cx="2772000" cy="1476000"/>
          </a:xfrm>
          <a:prstGeom prst="rect">
            <a:avLst/>
          </a:prstGeom>
        </p:spPr>
        <p:txBody>
          <a:bodyPr vert="horz" lIns="10800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64849394-50C3-49E9-B191-EC72D3CED38C}"/>
              </a:ext>
            </a:extLst>
          </p:cNvPr>
          <p:cNvSpPr txBox="1">
            <a:spLocks/>
          </p:cNvSpPr>
          <p:nvPr/>
        </p:nvSpPr>
        <p:spPr>
          <a:xfrm>
            <a:off x="4915208" y="4797316"/>
            <a:ext cx="2772000" cy="1476000"/>
          </a:xfrm>
          <a:prstGeom prst="rect">
            <a:avLst/>
          </a:prstGeom>
        </p:spPr>
        <p:txBody>
          <a:bodyPr vert="horz" lIns="10800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7860A263-051E-4E5B-83EF-00628D74B8F8}"/>
              </a:ext>
            </a:extLst>
          </p:cNvPr>
          <p:cNvSpPr txBox="1">
            <a:spLocks/>
          </p:cNvSpPr>
          <p:nvPr/>
        </p:nvSpPr>
        <p:spPr>
          <a:xfrm>
            <a:off x="9012596" y="4797316"/>
            <a:ext cx="2772000" cy="1476000"/>
          </a:xfrm>
          <a:prstGeom prst="rect">
            <a:avLst/>
          </a:prstGeom>
        </p:spPr>
        <p:txBody>
          <a:bodyPr vert="horz" lIns="10800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3FACEDF8-96D7-414C-993D-FC94E0F43D60}"/>
              </a:ext>
            </a:extLst>
          </p:cNvPr>
          <p:cNvSpPr txBox="1">
            <a:spLocks/>
          </p:cNvSpPr>
          <p:nvPr/>
        </p:nvSpPr>
        <p:spPr>
          <a:xfrm>
            <a:off x="1145762" y="1844824"/>
            <a:ext cx="2448000" cy="14760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72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</a:t>
            </a:r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6E0DD9AB-E14A-49D2-9FC3-B515A1056A25}"/>
              </a:ext>
            </a:extLst>
          </p:cNvPr>
          <p:cNvSpPr txBox="1">
            <a:spLocks/>
          </p:cNvSpPr>
          <p:nvPr/>
        </p:nvSpPr>
        <p:spPr>
          <a:xfrm>
            <a:off x="4915245" y="1844824"/>
            <a:ext cx="2772000" cy="14760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72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D1A54744-CC8E-4A72-ABE9-4C7C129C84B5}"/>
              </a:ext>
            </a:extLst>
          </p:cNvPr>
          <p:cNvSpPr txBox="1">
            <a:spLocks/>
          </p:cNvSpPr>
          <p:nvPr/>
        </p:nvSpPr>
        <p:spPr>
          <a:xfrm>
            <a:off x="9012632" y="1844824"/>
            <a:ext cx="2772000" cy="14760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72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04EDC9B-C15B-4B75-ABE0-19CC93AD70E7}"/>
              </a:ext>
            </a:extLst>
          </p:cNvPr>
          <p:cNvCxnSpPr>
            <a:cxnSpLocks/>
          </p:cNvCxnSpPr>
          <p:nvPr/>
        </p:nvCxnSpPr>
        <p:spPr>
          <a:xfrm flipV="1">
            <a:off x="2852081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B6743FF-F097-4CBA-99D1-08F8ABBE8DC4}"/>
              </a:ext>
            </a:extLst>
          </p:cNvPr>
          <p:cNvCxnSpPr>
            <a:cxnSpLocks/>
          </p:cNvCxnSpPr>
          <p:nvPr/>
        </p:nvCxnSpPr>
        <p:spPr>
          <a:xfrm flipV="1">
            <a:off x="6949469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BC74FDDA-25EC-4820-B229-1423369FBBE3}"/>
              </a:ext>
            </a:extLst>
          </p:cNvPr>
          <p:cNvCxnSpPr>
            <a:cxnSpLocks/>
          </p:cNvCxnSpPr>
          <p:nvPr/>
        </p:nvCxnSpPr>
        <p:spPr>
          <a:xfrm flipV="1">
            <a:off x="11046856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3CCFC45-CA97-4ADD-9C2B-1C509D05DF8F}"/>
              </a:ext>
            </a:extLst>
          </p:cNvPr>
          <p:cNvCxnSpPr>
            <a:cxnSpLocks/>
          </p:cNvCxnSpPr>
          <p:nvPr/>
        </p:nvCxnSpPr>
        <p:spPr>
          <a:xfrm>
            <a:off x="407988" y="4088009"/>
            <a:ext cx="11376025" cy="0"/>
          </a:xfrm>
          <a:prstGeom prst="line">
            <a:avLst/>
          </a:prstGeom>
          <a:ln w="57150" cap="rnd">
            <a:round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llipse 27">
            <a:extLst>
              <a:ext uri="{FF2B5EF4-FFF2-40B4-BE49-F238E27FC236}">
                <a16:creationId xmlns:a16="http://schemas.microsoft.com/office/drawing/2014/main" id="{797A5A08-0C3F-4992-9F9D-84266D65B36B}"/>
              </a:ext>
            </a:extLst>
          </p:cNvPr>
          <p:cNvSpPr/>
          <p:nvPr/>
        </p:nvSpPr>
        <p:spPr>
          <a:xfrm>
            <a:off x="465190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5D627ECF-E28B-44D6-A23C-2212E0D7540D}"/>
              </a:ext>
            </a:extLst>
          </p:cNvPr>
          <p:cNvSpPr/>
          <p:nvPr/>
        </p:nvSpPr>
        <p:spPr>
          <a:xfrm>
            <a:off x="2513884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55286CCF-CEE4-4C7D-8A91-0BC517BE8009}"/>
              </a:ext>
            </a:extLst>
          </p:cNvPr>
          <p:cNvSpPr/>
          <p:nvPr/>
        </p:nvSpPr>
        <p:spPr>
          <a:xfrm>
            <a:off x="4562578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6A2F6A17-B7A1-44D0-8FA4-7043F9B42102}"/>
              </a:ext>
            </a:extLst>
          </p:cNvPr>
          <p:cNvSpPr/>
          <p:nvPr/>
        </p:nvSpPr>
        <p:spPr>
          <a:xfrm>
            <a:off x="6611272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C4D719BE-3118-4EA3-8363-39B7B979A362}"/>
              </a:ext>
            </a:extLst>
          </p:cNvPr>
          <p:cNvSpPr/>
          <p:nvPr/>
        </p:nvSpPr>
        <p:spPr>
          <a:xfrm>
            <a:off x="8659966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A1A7C50E-DFA4-420B-A59D-8C4F9058C7C8}"/>
              </a:ext>
            </a:extLst>
          </p:cNvPr>
          <p:cNvSpPr/>
          <p:nvPr/>
        </p:nvSpPr>
        <p:spPr>
          <a:xfrm>
            <a:off x="10708659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4343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hang / Kreislauf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2</a:t>
            </a:fld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946B082-28F7-41DC-A80E-87C8A25B93D0}"/>
              </a:ext>
            </a:extLst>
          </p:cNvPr>
          <p:cNvGrpSpPr/>
          <p:nvPr/>
        </p:nvGrpSpPr>
        <p:grpSpPr>
          <a:xfrm>
            <a:off x="4962922" y="2942766"/>
            <a:ext cx="2268252" cy="2268252"/>
            <a:chOff x="5271609" y="3252502"/>
            <a:chExt cx="1648781" cy="1648781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18660E15-6382-4BF7-9B87-0D9428507792}"/>
                </a:ext>
              </a:extLst>
            </p:cNvPr>
            <p:cNvGrpSpPr/>
            <p:nvPr/>
          </p:nvGrpSpPr>
          <p:grpSpPr>
            <a:xfrm>
              <a:off x="5271609" y="3252502"/>
              <a:ext cx="1648781" cy="1648781"/>
              <a:chOff x="7587697" y="2485726"/>
              <a:chExt cx="2088000" cy="2088000"/>
            </a:xfrm>
          </p:grpSpPr>
          <p:sp>
            <p:nvSpPr>
              <p:cNvPr id="5" name="Bogen 4">
                <a:extLst>
                  <a:ext uri="{FF2B5EF4-FFF2-40B4-BE49-F238E27FC236}">
                    <a16:creationId xmlns:a16="http://schemas.microsoft.com/office/drawing/2014/main" id="{A3DC7ABB-308B-4861-899B-CF874E0D279E}"/>
                  </a:ext>
                </a:extLst>
              </p:cNvPr>
              <p:cNvSpPr/>
              <p:nvPr/>
            </p:nvSpPr>
            <p:spPr>
              <a:xfrm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39" name="Bogen 38">
                <a:extLst>
                  <a:ext uri="{FF2B5EF4-FFF2-40B4-BE49-F238E27FC236}">
                    <a16:creationId xmlns:a16="http://schemas.microsoft.com/office/drawing/2014/main" id="{941741FE-7028-496F-802E-12F5E64FD5D4}"/>
                  </a:ext>
                </a:extLst>
              </p:cNvPr>
              <p:cNvSpPr/>
              <p:nvPr/>
            </p:nvSpPr>
            <p:spPr>
              <a:xfrm rot="54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0" name="Bogen 39">
                <a:extLst>
                  <a:ext uri="{FF2B5EF4-FFF2-40B4-BE49-F238E27FC236}">
                    <a16:creationId xmlns:a16="http://schemas.microsoft.com/office/drawing/2014/main" id="{94635BB5-6699-4519-9448-DE8E0CD0572E}"/>
                  </a:ext>
                </a:extLst>
              </p:cNvPr>
              <p:cNvSpPr/>
              <p:nvPr/>
            </p:nvSpPr>
            <p:spPr>
              <a:xfrm rot="108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" name="Bogen 40">
                <a:extLst>
                  <a:ext uri="{FF2B5EF4-FFF2-40B4-BE49-F238E27FC236}">
                    <a16:creationId xmlns:a16="http://schemas.microsoft.com/office/drawing/2014/main" id="{AC161563-E7DC-4E92-ACA4-ECEF45475D41}"/>
                  </a:ext>
                </a:extLst>
              </p:cNvPr>
              <p:cNvSpPr/>
              <p:nvPr/>
            </p:nvSpPr>
            <p:spPr>
              <a:xfrm rot="162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47" name="Textplatzhalter 2">
              <a:extLst>
                <a:ext uri="{FF2B5EF4-FFF2-40B4-BE49-F238E27FC236}">
                  <a16:creationId xmlns:a16="http://schemas.microsoft.com/office/drawing/2014/main" id="{46CA0009-BBCD-4393-8953-F102CD921CA5}"/>
                </a:ext>
              </a:extLst>
            </p:cNvPr>
            <p:cNvSpPr txBox="1">
              <a:spLocks/>
            </p:cNvSpPr>
            <p:nvPr/>
          </p:nvSpPr>
          <p:spPr>
            <a:xfrm>
              <a:off x="5447999" y="3428892"/>
              <a:ext cx="1296000" cy="1296000"/>
            </a:xfrm>
            <a:prstGeom prst="ellipse">
              <a:avLst/>
            </a:prstGeom>
            <a:noFill/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dirty="0"/>
                <a:t>Text</a:t>
              </a:r>
            </a:p>
          </p:txBody>
        </p:sp>
      </p:grp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20878F23-9E08-4BBF-A712-AB08B1E19F94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3959225" cy="19085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C1933205-28F7-43C8-88E0-FC9D92F130B0}"/>
              </a:ext>
            </a:extLst>
          </p:cNvPr>
          <p:cNvSpPr txBox="1">
            <a:spLocks/>
          </p:cNvSpPr>
          <p:nvPr/>
        </p:nvSpPr>
        <p:spPr>
          <a:xfrm>
            <a:off x="407367" y="4256941"/>
            <a:ext cx="3959225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88FBA8C-1D48-4916-8B52-088138CA884A}"/>
              </a:ext>
            </a:extLst>
          </p:cNvPr>
          <p:cNvSpPr txBox="1">
            <a:spLocks/>
          </p:cNvSpPr>
          <p:nvPr/>
        </p:nvSpPr>
        <p:spPr>
          <a:xfrm>
            <a:off x="7825408" y="1844675"/>
            <a:ext cx="3959398" cy="1908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EBA2C17E-3787-4791-94A4-7B8C2129FE99}"/>
              </a:ext>
            </a:extLst>
          </p:cNvPr>
          <p:cNvSpPr txBox="1">
            <a:spLocks/>
          </p:cNvSpPr>
          <p:nvPr/>
        </p:nvSpPr>
        <p:spPr>
          <a:xfrm>
            <a:off x="7824788" y="4256581"/>
            <a:ext cx="3959398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623FB6CC-0468-4F6A-B85F-5DA9676C4274}"/>
              </a:ext>
            </a:extLst>
          </p:cNvPr>
          <p:cNvCxnSpPr>
            <a:cxnSpLocks/>
          </p:cNvCxnSpPr>
          <p:nvPr/>
        </p:nvCxnSpPr>
        <p:spPr>
          <a:xfrm>
            <a:off x="7392144" y="4005064"/>
            <a:ext cx="4389283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1C9EC4E8-E361-4073-8C96-FBB565B8E496}"/>
              </a:ext>
            </a:extLst>
          </p:cNvPr>
          <p:cNvCxnSpPr>
            <a:cxnSpLocks/>
          </p:cNvCxnSpPr>
          <p:nvPr/>
        </p:nvCxnSpPr>
        <p:spPr>
          <a:xfrm>
            <a:off x="407988" y="4005064"/>
            <a:ext cx="4389283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4CBDEC71-4228-4143-9717-1A09EE7F6B5D}"/>
              </a:ext>
            </a:extLst>
          </p:cNvPr>
          <p:cNvCxnSpPr>
            <a:cxnSpLocks/>
          </p:cNvCxnSpPr>
          <p:nvPr/>
        </p:nvCxnSpPr>
        <p:spPr>
          <a:xfrm>
            <a:off x="6096000" y="1880828"/>
            <a:ext cx="0" cy="864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4B967E15-C3BC-4EC8-9E9A-8C2D852101D4}"/>
              </a:ext>
            </a:extLst>
          </p:cNvPr>
          <p:cNvCxnSpPr>
            <a:cxnSpLocks/>
          </p:cNvCxnSpPr>
          <p:nvPr/>
        </p:nvCxnSpPr>
        <p:spPr>
          <a:xfrm>
            <a:off x="6096000" y="5409316"/>
            <a:ext cx="0" cy="864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642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hang / Kreislauf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3</a:t>
            </a:fld>
            <a:endParaRPr lang="de-DE" dirty="0"/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741B4AE-AE99-4589-968C-894E5FFBC6DF}"/>
              </a:ext>
            </a:extLst>
          </p:cNvPr>
          <p:cNvSpPr txBox="1">
            <a:spLocks/>
          </p:cNvSpPr>
          <p:nvPr/>
        </p:nvSpPr>
        <p:spPr>
          <a:xfrm>
            <a:off x="407988" y="1881188"/>
            <a:ext cx="3385058" cy="1872000"/>
          </a:xfrm>
          <a:prstGeom prst="rect">
            <a:avLst/>
          </a:prstGeom>
        </p:spPr>
        <p:txBody>
          <a:bodyPr vert="horz" lIns="0" tIns="144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5A68C773-74E2-4CEC-BD45-7C71E8B53955}"/>
              </a:ext>
            </a:extLst>
          </p:cNvPr>
          <p:cNvSpPr txBox="1">
            <a:spLocks/>
          </p:cNvSpPr>
          <p:nvPr/>
        </p:nvSpPr>
        <p:spPr>
          <a:xfrm>
            <a:off x="407368" y="4256941"/>
            <a:ext cx="3385058" cy="2016375"/>
          </a:xfrm>
          <a:prstGeom prst="rect">
            <a:avLst/>
          </a:prstGeom>
        </p:spPr>
        <p:txBody>
          <a:bodyPr vert="horz" lIns="0" tIns="0" rIns="0" bIns="144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D738083B-6962-46FF-924C-140F28636040}"/>
              </a:ext>
            </a:extLst>
          </p:cNvPr>
          <p:cNvSpPr txBox="1">
            <a:spLocks/>
          </p:cNvSpPr>
          <p:nvPr/>
        </p:nvSpPr>
        <p:spPr>
          <a:xfrm>
            <a:off x="8401670" y="1880828"/>
            <a:ext cx="3383136" cy="1872000"/>
          </a:xfrm>
          <a:prstGeom prst="rect">
            <a:avLst/>
          </a:prstGeom>
        </p:spPr>
        <p:txBody>
          <a:bodyPr vert="horz" lIns="0" tIns="144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657C0256-D0E2-4055-A05F-8ED31E9766D6}"/>
              </a:ext>
            </a:extLst>
          </p:cNvPr>
          <p:cNvSpPr txBox="1">
            <a:spLocks/>
          </p:cNvSpPr>
          <p:nvPr/>
        </p:nvSpPr>
        <p:spPr>
          <a:xfrm>
            <a:off x="8401050" y="4256581"/>
            <a:ext cx="3383136" cy="2016375"/>
          </a:xfrm>
          <a:prstGeom prst="rect">
            <a:avLst/>
          </a:prstGeom>
        </p:spPr>
        <p:txBody>
          <a:bodyPr vert="horz" lIns="0" tIns="0" rIns="0" bIns="144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946B082-28F7-41DC-A80E-87C8A25B93D0}"/>
              </a:ext>
            </a:extLst>
          </p:cNvPr>
          <p:cNvGrpSpPr/>
          <p:nvPr/>
        </p:nvGrpSpPr>
        <p:grpSpPr>
          <a:xfrm>
            <a:off x="4962922" y="2942766"/>
            <a:ext cx="2268252" cy="2268252"/>
            <a:chOff x="5271609" y="3252502"/>
            <a:chExt cx="1648781" cy="1648781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18660E15-6382-4BF7-9B87-0D9428507792}"/>
                </a:ext>
              </a:extLst>
            </p:cNvPr>
            <p:cNvGrpSpPr/>
            <p:nvPr/>
          </p:nvGrpSpPr>
          <p:grpSpPr>
            <a:xfrm>
              <a:off x="5271609" y="3252502"/>
              <a:ext cx="1648781" cy="1648781"/>
              <a:chOff x="7587697" y="2485726"/>
              <a:chExt cx="2088000" cy="2088000"/>
            </a:xfrm>
          </p:grpSpPr>
          <p:sp>
            <p:nvSpPr>
              <p:cNvPr id="5" name="Bogen 4">
                <a:extLst>
                  <a:ext uri="{FF2B5EF4-FFF2-40B4-BE49-F238E27FC236}">
                    <a16:creationId xmlns:a16="http://schemas.microsoft.com/office/drawing/2014/main" id="{A3DC7ABB-308B-4861-899B-CF874E0D279E}"/>
                  </a:ext>
                </a:extLst>
              </p:cNvPr>
              <p:cNvSpPr/>
              <p:nvPr/>
            </p:nvSpPr>
            <p:spPr>
              <a:xfrm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39" name="Bogen 38">
                <a:extLst>
                  <a:ext uri="{FF2B5EF4-FFF2-40B4-BE49-F238E27FC236}">
                    <a16:creationId xmlns:a16="http://schemas.microsoft.com/office/drawing/2014/main" id="{941741FE-7028-496F-802E-12F5E64FD5D4}"/>
                  </a:ext>
                </a:extLst>
              </p:cNvPr>
              <p:cNvSpPr/>
              <p:nvPr/>
            </p:nvSpPr>
            <p:spPr>
              <a:xfrm rot="54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0" name="Bogen 39">
                <a:extLst>
                  <a:ext uri="{FF2B5EF4-FFF2-40B4-BE49-F238E27FC236}">
                    <a16:creationId xmlns:a16="http://schemas.microsoft.com/office/drawing/2014/main" id="{94635BB5-6699-4519-9448-DE8E0CD0572E}"/>
                  </a:ext>
                </a:extLst>
              </p:cNvPr>
              <p:cNvSpPr/>
              <p:nvPr/>
            </p:nvSpPr>
            <p:spPr>
              <a:xfrm rot="108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" name="Bogen 40">
                <a:extLst>
                  <a:ext uri="{FF2B5EF4-FFF2-40B4-BE49-F238E27FC236}">
                    <a16:creationId xmlns:a16="http://schemas.microsoft.com/office/drawing/2014/main" id="{AC161563-E7DC-4E92-ACA4-ECEF45475D41}"/>
                  </a:ext>
                </a:extLst>
              </p:cNvPr>
              <p:cNvSpPr/>
              <p:nvPr/>
            </p:nvSpPr>
            <p:spPr>
              <a:xfrm rot="162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47" name="Textplatzhalter 2">
              <a:extLst>
                <a:ext uri="{FF2B5EF4-FFF2-40B4-BE49-F238E27FC236}">
                  <a16:creationId xmlns:a16="http://schemas.microsoft.com/office/drawing/2014/main" id="{46CA0009-BBCD-4393-8953-F102CD921CA5}"/>
                </a:ext>
              </a:extLst>
            </p:cNvPr>
            <p:cNvSpPr txBox="1">
              <a:spLocks/>
            </p:cNvSpPr>
            <p:nvPr/>
          </p:nvSpPr>
          <p:spPr>
            <a:xfrm>
              <a:off x="5447999" y="3428892"/>
              <a:ext cx="1296000" cy="1296000"/>
            </a:xfrm>
            <a:prstGeom prst="ellipse">
              <a:avLst/>
            </a:prstGeom>
            <a:noFill/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dirty="0"/>
                <a:t>Text</a:t>
              </a:r>
            </a:p>
          </p:txBody>
        </p:sp>
      </p:grp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C58F2C83-7312-4EBC-9612-B43A8B9B1E08}"/>
              </a:ext>
            </a:extLst>
          </p:cNvPr>
          <p:cNvSpPr/>
          <p:nvPr/>
        </p:nvSpPr>
        <p:spPr>
          <a:xfrm>
            <a:off x="420914" y="1886857"/>
            <a:ext cx="4731657" cy="1291772"/>
          </a:xfrm>
          <a:custGeom>
            <a:avLst/>
            <a:gdLst>
              <a:gd name="connsiteX0" fmla="*/ 4731657 w 4731657"/>
              <a:gd name="connsiteY0" fmla="*/ 1291772 h 1291772"/>
              <a:gd name="connsiteX1" fmla="*/ 3439885 w 4731657"/>
              <a:gd name="connsiteY1" fmla="*/ 0 h 1291772"/>
              <a:gd name="connsiteX2" fmla="*/ 0 w 4731657"/>
              <a:gd name="connsiteY2" fmla="*/ 0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1657" h="1291772">
                <a:moveTo>
                  <a:pt x="4731657" y="1291772"/>
                </a:moveTo>
                <a:lnTo>
                  <a:pt x="3439885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82436384-D838-4492-A4F4-787242C2C571}"/>
              </a:ext>
            </a:extLst>
          </p:cNvPr>
          <p:cNvSpPr/>
          <p:nvPr/>
        </p:nvSpPr>
        <p:spPr>
          <a:xfrm flipV="1">
            <a:off x="407367" y="4981544"/>
            <a:ext cx="4731657" cy="1291772"/>
          </a:xfrm>
          <a:custGeom>
            <a:avLst/>
            <a:gdLst>
              <a:gd name="connsiteX0" fmla="*/ 4731657 w 4731657"/>
              <a:gd name="connsiteY0" fmla="*/ 1291772 h 1291772"/>
              <a:gd name="connsiteX1" fmla="*/ 3439885 w 4731657"/>
              <a:gd name="connsiteY1" fmla="*/ 0 h 1291772"/>
              <a:gd name="connsiteX2" fmla="*/ 0 w 4731657"/>
              <a:gd name="connsiteY2" fmla="*/ 0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1657" h="1291772">
                <a:moveTo>
                  <a:pt x="4731657" y="1291772"/>
                </a:moveTo>
                <a:lnTo>
                  <a:pt x="3439885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1F1D5CB3-7CBC-4B5E-9EF9-C74D5B2AAB7B}"/>
              </a:ext>
            </a:extLst>
          </p:cNvPr>
          <p:cNvSpPr/>
          <p:nvPr/>
        </p:nvSpPr>
        <p:spPr>
          <a:xfrm flipH="1">
            <a:off x="7053149" y="1880828"/>
            <a:ext cx="4731657" cy="1291772"/>
          </a:xfrm>
          <a:custGeom>
            <a:avLst/>
            <a:gdLst>
              <a:gd name="connsiteX0" fmla="*/ 4731657 w 4731657"/>
              <a:gd name="connsiteY0" fmla="*/ 1291772 h 1291772"/>
              <a:gd name="connsiteX1" fmla="*/ 3439885 w 4731657"/>
              <a:gd name="connsiteY1" fmla="*/ 0 h 1291772"/>
              <a:gd name="connsiteX2" fmla="*/ 0 w 4731657"/>
              <a:gd name="connsiteY2" fmla="*/ 0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1657" h="1291772">
                <a:moveTo>
                  <a:pt x="4731657" y="1291772"/>
                </a:moveTo>
                <a:lnTo>
                  <a:pt x="3439885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B982455D-22CF-4401-B3CE-23B1188E5859}"/>
              </a:ext>
            </a:extLst>
          </p:cNvPr>
          <p:cNvSpPr/>
          <p:nvPr/>
        </p:nvSpPr>
        <p:spPr>
          <a:xfrm flipH="1" flipV="1">
            <a:off x="7053149" y="4975515"/>
            <a:ext cx="4731657" cy="1291772"/>
          </a:xfrm>
          <a:custGeom>
            <a:avLst/>
            <a:gdLst>
              <a:gd name="connsiteX0" fmla="*/ 4731657 w 4731657"/>
              <a:gd name="connsiteY0" fmla="*/ 1291772 h 1291772"/>
              <a:gd name="connsiteX1" fmla="*/ 3439885 w 4731657"/>
              <a:gd name="connsiteY1" fmla="*/ 0 h 1291772"/>
              <a:gd name="connsiteX2" fmla="*/ 0 w 4731657"/>
              <a:gd name="connsiteY2" fmla="*/ 0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1657" h="1291772">
                <a:moveTo>
                  <a:pt x="4731657" y="1291772"/>
                </a:moveTo>
                <a:lnTo>
                  <a:pt x="3439885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263E3EA-55F0-4B4A-8E1D-E3BBB7E58977}"/>
              </a:ext>
            </a:extLst>
          </p:cNvPr>
          <p:cNvSpPr/>
          <p:nvPr/>
        </p:nvSpPr>
        <p:spPr>
          <a:xfrm>
            <a:off x="7319962" y="2420888"/>
            <a:ext cx="46822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719F5B72-B0E2-4C56-8C32-3E480613EB2B}"/>
              </a:ext>
            </a:extLst>
          </p:cNvPr>
          <p:cNvSpPr/>
          <p:nvPr/>
        </p:nvSpPr>
        <p:spPr>
          <a:xfrm>
            <a:off x="7319962" y="5121188"/>
            <a:ext cx="46822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CC4B17F-A6C9-4224-A81A-F45B2B9ADD03}"/>
              </a:ext>
            </a:extLst>
          </p:cNvPr>
          <p:cNvSpPr/>
          <p:nvPr/>
        </p:nvSpPr>
        <p:spPr>
          <a:xfrm>
            <a:off x="4403812" y="2420888"/>
            <a:ext cx="46822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7E0E157-FBC4-44AC-AB6B-FBC80A525DD7}"/>
              </a:ext>
            </a:extLst>
          </p:cNvPr>
          <p:cNvSpPr/>
          <p:nvPr/>
        </p:nvSpPr>
        <p:spPr>
          <a:xfrm>
            <a:off x="4403812" y="5121188"/>
            <a:ext cx="46822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96099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C4C2-B6C4-4CB6-AA2B-8040D0D8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– fünf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1F5F83-EB12-4F27-A0E0-CB1AE12AC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A76F37-E0B6-4113-A55D-59524F94B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4</a:t>
            </a:fld>
            <a:endParaRPr lang="de-DE" dirty="0"/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56C32971-F1C6-4963-B725-4CA1052E57DE}"/>
              </a:ext>
            </a:extLst>
          </p:cNvPr>
          <p:cNvSpPr txBox="1">
            <a:spLocks/>
          </p:cNvSpPr>
          <p:nvPr/>
        </p:nvSpPr>
        <p:spPr>
          <a:xfrm>
            <a:off x="407988" y="3176972"/>
            <a:ext cx="1836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51393D7-FE8F-4E1F-943D-847C4EE9981F}"/>
              </a:ext>
            </a:extLst>
          </p:cNvPr>
          <p:cNvSpPr txBox="1">
            <a:spLocks/>
          </p:cNvSpPr>
          <p:nvPr/>
        </p:nvSpPr>
        <p:spPr>
          <a:xfrm>
            <a:off x="2819994" y="3176972"/>
            <a:ext cx="1800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79E2CBF-3DDF-48D6-A03F-243782D438D7}"/>
              </a:ext>
            </a:extLst>
          </p:cNvPr>
          <p:cNvSpPr txBox="1">
            <a:spLocks/>
          </p:cNvSpPr>
          <p:nvPr/>
        </p:nvSpPr>
        <p:spPr>
          <a:xfrm>
            <a:off x="5196000" y="3176972"/>
            <a:ext cx="1800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0C4B14C6-CC9E-43C6-BECE-B7014A587E7A}"/>
              </a:ext>
            </a:extLst>
          </p:cNvPr>
          <p:cNvSpPr txBox="1">
            <a:spLocks/>
          </p:cNvSpPr>
          <p:nvPr/>
        </p:nvSpPr>
        <p:spPr>
          <a:xfrm>
            <a:off x="7572006" y="3176972"/>
            <a:ext cx="1800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2C44142-31B7-490B-A7C3-F9EE670A8EB5}"/>
              </a:ext>
            </a:extLst>
          </p:cNvPr>
          <p:cNvSpPr txBox="1">
            <a:spLocks/>
          </p:cNvSpPr>
          <p:nvPr/>
        </p:nvSpPr>
        <p:spPr>
          <a:xfrm>
            <a:off x="9948012" y="3176972"/>
            <a:ext cx="1836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6" name="Freeform 5">
            <a:extLst>
              <a:ext uri="{FF2B5EF4-FFF2-40B4-BE49-F238E27FC236}">
                <a16:creationId xmlns:a16="http://schemas.microsoft.com/office/drawing/2014/main" id="{EF41C549-0EC4-43D9-A9BB-BC038CD80746}"/>
              </a:ext>
            </a:extLst>
          </p:cNvPr>
          <p:cNvSpPr>
            <a:spLocks/>
          </p:cNvSpPr>
          <p:nvPr/>
        </p:nvSpPr>
        <p:spPr bwMode="auto">
          <a:xfrm>
            <a:off x="2393181" y="2701564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7" name="Freeform 5">
            <a:extLst>
              <a:ext uri="{FF2B5EF4-FFF2-40B4-BE49-F238E27FC236}">
                <a16:creationId xmlns:a16="http://schemas.microsoft.com/office/drawing/2014/main" id="{FEAD2846-8DEE-4BF0-944B-B7C535DF0936}"/>
              </a:ext>
            </a:extLst>
          </p:cNvPr>
          <p:cNvSpPr>
            <a:spLocks/>
          </p:cNvSpPr>
          <p:nvPr/>
        </p:nvSpPr>
        <p:spPr bwMode="auto">
          <a:xfrm>
            <a:off x="4769290" y="2701564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8" name="Freeform 5">
            <a:extLst>
              <a:ext uri="{FF2B5EF4-FFF2-40B4-BE49-F238E27FC236}">
                <a16:creationId xmlns:a16="http://schemas.microsoft.com/office/drawing/2014/main" id="{B2F4C5F3-CE09-41AB-AFA2-47737631AB7D}"/>
              </a:ext>
            </a:extLst>
          </p:cNvPr>
          <p:cNvSpPr>
            <a:spLocks/>
          </p:cNvSpPr>
          <p:nvPr/>
        </p:nvSpPr>
        <p:spPr bwMode="auto">
          <a:xfrm>
            <a:off x="7145399" y="2701564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9" name="Freeform 5">
            <a:extLst>
              <a:ext uri="{FF2B5EF4-FFF2-40B4-BE49-F238E27FC236}">
                <a16:creationId xmlns:a16="http://schemas.microsoft.com/office/drawing/2014/main" id="{04717336-830C-476F-806B-1BF37C245E86}"/>
              </a:ext>
            </a:extLst>
          </p:cNvPr>
          <p:cNvSpPr>
            <a:spLocks/>
          </p:cNvSpPr>
          <p:nvPr/>
        </p:nvSpPr>
        <p:spPr bwMode="auto">
          <a:xfrm>
            <a:off x="9521508" y="2701564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9A31EE48-F0F6-4746-A24C-536291F3FEE9}"/>
              </a:ext>
            </a:extLst>
          </p:cNvPr>
          <p:cNvSpPr/>
          <p:nvPr/>
        </p:nvSpPr>
        <p:spPr>
          <a:xfrm>
            <a:off x="407292" y="2655364"/>
            <a:ext cx="1836900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D839F1B6-D64F-4194-A960-9381D0672F26}"/>
              </a:ext>
            </a:extLst>
          </p:cNvPr>
          <p:cNvSpPr/>
          <p:nvPr/>
        </p:nvSpPr>
        <p:spPr>
          <a:xfrm>
            <a:off x="2820300" y="2655364"/>
            <a:ext cx="1800000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/>
          <a:p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C28143F2-E85B-4B73-A72A-D4D4937D78C1}"/>
              </a:ext>
            </a:extLst>
          </p:cNvPr>
          <p:cNvSpPr/>
          <p:nvPr/>
        </p:nvSpPr>
        <p:spPr>
          <a:xfrm>
            <a:off x="5196408" y="2655364"/>
            <a:ext cx="1800000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/>
          <a:p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B35AB66B-0222-40FC-9B84-D783B8739177}"/>
              </a:ext>
            </a:extLst>
          </p:cNvPr>
          <p:cNvSpPr/>
          <p:nvPr/>
        </p:nvSpPr>
        <p:spPr>
          <a:xfrm>
            <a:off x="7572516" y="2655364"/>
            <a:ext cx="1800000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/>
          <a:p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0BA87DA1-C8BE-45AE-8D59-D11A55A1576F}"/>
              </a:ext>
            </a:extLst>
          </p:cNvPr>
          <p:cNvSpPr/>
          <p:nvPr/>
        </p:nvSpPr>
        <p:spPr>
          <a:xfrm>
            <a:off x="9948627" y="2655364"/>
            <a:ext cx="1835385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/>
          <a:p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A6F9F7F-7223-473C-B23C-01F5C4B713B9}"/>
              </a:ext>
            </a:extLst>
          </p:cNvPr>
          <p:cNvGrpSpPr/>
          <p:nvPr/>
        </p:nvGrpSpPr>
        <p:grpSpPr>
          <a:xfrm>
            <a:off x="2531991" y="3176972"/>
            <a:ext cx="7128018" cy="1908212"/>
            <a:chOff x="2531991" y="2853304"/>
            <a:chExt cx="7128018" cy="3420000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7126435-39C4-4601-9D25-75E9F3EDE273}"/>
                </a:ext>
              </a:extLst>
            </p:cNvPr>
            <p:cNvCxnSpPr>
              <a:cxnSpLocks/>
            </p:cNvCxnSpPr>
            <p:nvPr/>
          </p:nvCxnSpPr>
          <p:spPr>
            <a:xfrm>
              <a:off x="2531991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C360F91-A7EE-489D-A0DC-8E69522F0451}"/>
                </a:ext>
              </a:extLst>
            </p:cNvPr>
            <p:cNvCxnSpPr>
              <a:cxnSpLocks/>
            </p:cNvCxnSpPr>
            <p:nvPr/>
          </p:nvCxnSpPr>
          <p:spPr>
            <a:xfrm>
              <a:off x="4907997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E38B374-4EB2-4612-ACF3-F2AF0919DB31}"/>
                </a:ext>
              </a:extLst>
            </p:cNvPr>
            <p:cNvCxnSpPr>
              <a:cxnSpLocks/>
            </p:cNvCxnSpPr>
            <p:nvPr/>
          </p:nvCxnSpPr>
          <p:spPr>
            <a:xfrm>
              <a:off x="7284003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A6EE0CE9-E355-406B-AA5C-44124CE470D7}"/>
                </a:ext>
              </a:extLst>
            </p:cNvPr>
            <p:cNvCxnSpPr>
              <a:cxnSpLocks/>
            </p:cNvCxnSpPr>
            <p:nvPr/>
          </p:nvCxnSpPr>
          <p:spPr>
            <a:xfrm>
              <a:off x="9660009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" name="Grafik 48">
            <a:extLst>
              <a:ext uri="{FF2B5EF4-FFF2-40B4-BE49-F238E27FC236}">
                <a16:creationId xmlns:a16="http://schemas.microsoft.com/office/drawing/2014/main" id="{9BF97062-9921-4B89-A2C5-9F38F3E2BD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96408" y="1844824"/>
            <a:ext cx="698238" cy="698238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BACC96A0-C328-4DCA-89FD-ACC08A5A8D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72516" y="1844824"/>
            <a:ext cx="698238" cy="698238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0350D791-31F2-45BB-AAD1-A8794E1C25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48627" y="1844824"/>
            <a:ext cx="698238" cy="698238"/>
          </a:xfrm>
          <a:prstGeom prst="rect">
            <a:avLst/>
          </a:prstGeom>
        </p:spPr>
      </p:pic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2BFEB14E-E6FD-4E69-94CC-FF1F6C52ECC5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ACFE7763-27C5-46CF-B2A7-8A3B092F341D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56" name="Grafik 55">
              <a:extLst>
                <a:ext uri="{FF2B5EF4-FFF2-40B4-BE49-F238E27FC236}">
                  <a16:creationId xmlns:a16="http://schemas.microsoft.com/office/drawing/2014/main" id="{7F07BB3F-4B36-4B1A-95DD-5D2CCAF1EF8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pic>
        <p:nvPicPr>
          <p:cNvPr id="5" name="Grafik 4">
            <a:extLst>
              <a:ext uri="{FF2B5EF4-FFF2-40B4-BE49-F238E27FC236}">
                <a16:creationId xmlns:a16="http://schemas.microsoft.com/office/drawing/2014/main" id="{26273F23-C445-C97D-C96B-1DB4651FA11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6800" y="1846800"/>
            <a:ext cx="698400" cy="6984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431D58F-1707-4642-D5F1-247439A2B7F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18800" y="18468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26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85A3F7-BC63-4A5C-B953-097B5E5AD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reislaufprozess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726C6B5-4A3D-4DCF-B6DA-70C01AF04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CC3155-B0AA-48CC-8340-3AF4E669B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5</a:t>
            </a:fld>
            <a:endParaRPr lang="de-DE" dirty="0"/>
          </a:p>
        </p:txBody>
      </p:sp>
      <p:grpSp>
        <p:nvGrpSpPr>
          <p:cNvPr id="5" name="Gruppierung 20">
            <a:extLst>
              <a:ext uri="{FF2B5EF4-FFF2-40B4-BE49-F238E27FC236}">
                <a16:creationId xmlns:a16="http://schemas.microsoft.com/office/drawing/2014/main" id="{5E96ECD1-E2C9-47B6-AF34-79606FCE3F26}"/>
              </a:ext>
            </a:extLst>
          </p:cNvPr>
          <p:cNvGrpSpPr>
            <a:grpSpLocks noChangeAspect="1"/>
          </p:cNvGrpSpPr>
          <p:nvPr/>
        </p:nvGrpSpPr>
        <p:grpSpPr>
          <a:xfrm>
            <a:off x="1146391" y="2104198"/>
            <a:ext cx="4066743" cy="4068000"/>
            <a:chOff x="11782230" y="2938776"/>
            <a:chExt cx="11165283" cy="11168729"/>
          </a:xfrm>
        </p:grpSpPr>
        <p:sp>
          <p:nvSpPr>
            <p:cNvPr id="6" name="Ellipse 23">
              <a:extLst>
                <a:ext uri="{FF2B5EF4-FFF2-40B4-BE49-F238E27FC236}">
                  <a16:creationId xmlns:a16="http://schemas.microsoft.com/office/drawing/2014/main" id="{397AE96E-4259-432F-9397-50A335EC81C5}"/>
                </a:ext>
              </a:extLst>
            </p:cNvPr>
            <p:cNvSpPr/>
            <p:nvPr/>
          </p:nvSpPr>
          <p:spPr>
            <a:xfrm>
              <a:off x="17366533" y="2938776"/>
              <a:ext cx="5580980" cy="5448163"/>
            </a:xfrm>
            <a:custGeom>
              <a:avLst/>
              <a:gdLst/>
              <a:ahLst/>
              <a:cxnLst/>
              <a:rect l="l" t="t" r="r" b="b"/>
              <a:pathLst>
                <a:path w="3688236" h="3600463">
                  <a:moveTo>
                    <a:pt x="90052" y="2242"/>
                  </a:moveTo>
                  <a:cubicBezTo>
                    <a:pt x="2056746" y="48167"/>
                    <a:pt x="3642326" y="1633769"/>
                    <a:pt x="3688236" y="3600462"/>
                  </a:cubicBezTo>
                  <a:lnTo>
                    <a:pt x="2529898" y="3600462"/>
                  </a:lnTo>
                  <a:cubicBezTo>
                    <a:pt x="2529894" y="3600463"/>
                    <a:pt x="2529892" y="3600463"/>
                    <a:pt x="2529888" y="3600463"/>
                  </a:cubicBezTo>
                  <a:lnTo>
                    <a:pt x="2529878" y="3600462"/>
                  </a:lnTo>
                  <a:lnTo>
                    <a:pt x="2504636" y="3600462"/>
                  </a:lnTo>
                  <a:lnTo>
                    <a:pt x="2504636" y="3597918"/>
                  </a:lnTo>
                  <a:cubicBezTo>
                    <a:pt x="2385710" y="3588212"/>
                    <a:pt x="2289254" y="3500183"/>
                    <a:pt x="2265548" y="3385525"/>
                  </a:cubicBezTo>
                  <a:lnTo>
                    <a:pt x="2263730" y="3385525"/>
                  </a:lnTo>
                  <a:cubicBezTo>
                    <a:pt x="2131648" y="2375956"/>
                    <a:pt x="1338670" y="1574933"/>
                    <a:pt x="332936" y="1431099"/>
                  </a:cubicBezTo>
                  <a:lnTo>
                    <a:pt x="332936" y="1428244"/>
                  </a:lnTo>
                  <a:cubicBezTo>
                    <a:pt x="194968" y="1417411"/>
                    <a:pt x="86876" y="1301641"/>
                    <a:pt x="86876" y="1160626"/>
                  </a:cubicBezTo>
                  <a:lnTo>
                    <a:pt x="90052" y="1129121"/>
                  </a:lnTo>
                  <a:close/>
                  <a:moveTo>
                    <a:pt x="40" y="0"/>
                  </a:moveTo>
                  <a:lnTo>
                    <a:pt x="80" y="1"/>
                  </a:lnTo>
                  <a:lnTo>
                    <a:pt x="0" y="1"/>
                  </a:lnTo>
                  <a:cubicBezTo>
                    <a:pt x="14" y="0"/>
                    <a:pt x="26" y="0"/>
                    <a:pt x="40" y="0"/>
                  </a:cubicBezTo>
                  <a:close/>
                </a:path>
              </a:pathLst>
            </a:custGeom>
            <a:solidFill>
              <a:schemeClr val="tx2"/>
            </a:solidFill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7" name="Ellipse 23">
              <a:extLst>
                <a:ext uri="{FF2B5EF4-FFF2-40B4-BE49-F238E27FC236}">
                  <a16:creationId xmlns:a16="http://schemas.microsoft.com/office/drawing/2014/main" id="{3F6073CE-BE70-4934-9018-513AB6981FDF}"/>
                </a:ext>
              </a:extLst>
            </p:cNvPr>
            <p:cNvSpPr/>
            <p:nvPr/>
          </p:nvSpPr>
          <p:spPr>
            <a:xfrm rot="16200000">
              <a:off x="11715822" y="3005187"/>
              <a:ext cx="5580980" cy="5448163"/>
            </a:xfrm>
            <a:custGeom>
              <a:avLst/>
              <a:gdLst/>
              <a:ahLst/>
              <a:cxnLst/>
              <a:rect l="l" t="t" r="r" b="b"/>
              <a:pathLst>
                <a:path w="3688236" h="3600463">
                  <a:moveTo>
                    <a:pt x="90052" y="2242"/>
                  </a:moveTo>
                  <a:cubicBezTo>
                    <a:pt x="2056746" y="48167"/>
                    <a:pt x="3642326" y="1633769"/>
                    <a:pt x="3688236" y="3600462"/>
                  </a:cubicBezTo>
                  <a:lnTo>
                    <a:pt x="2529898" y="3600462"/>
                  </a:lnTo>
                  <a:cubicBezTo>
                    <a:pt x="2529894" y="3600463"/>
                    <a:pt x="2529892" y="3600463"/>
                    <a:pt x="2529888" y="3600463"/>
                  </a:cubicBezTo>
                  <a:lnTo>
                    <a:pt x="2529878" y="3600462"/>
                  </a:lnTo>
                  <a:lnTo>
                    <a:pt x="2504636" y="3600462"/>
                  </a:lnTo>
                  <a:lnTo>
                    <a:pt x="2504636" y="3597918"/>
                  </a:lnTo>
                  <a:cubicBezTo>
                    <a:pt x="2385710" y="3588212"/>
                    <a:pt x="2289254" y="3500183"/>
                    <a:pt x="2265548" y="3385525"/>
                  </a:cubicBezTo>
                  <a:lnTo>
                    <a:pt x="2263730" y="3385525"/>
                  </a:lnTo>
                  <a:cubicBezTo>
                    <a:pt x="2131648" y="2375956"/>
                    <a:pt x="1338670" y="1574933"/>
                    <a:pt x="332936" y="1431099"/>
                  </a:cubicBezTo>
                  <a:lnTo>
                    <a:pt x="332936" y="1428244"/>
                  </a:lnTo>
                  <a:cubicBezTo>
                    <a:pt x="194968" y="1417411"/>
                    <a:pt x="86876" y="1301641"/>
                    <a:pt x="86876" y="1160626"/>
                  </a:cubicBezTo>
                  <a:lnTo>
                    <a:pt x="90052" y="1129121"/>
                  </a:lnTo>
                  <a:close/>
                  <a:moveTo>
                    <a:pt x="40" y="0"/>
                  </a:moveTo>
                  <a:lnTo>
                    <a:pt x="80" y="1"/>
                  </a:lnTo>
                  <a:lnTo>
                    <a:pt x="0" y="1"/>
                  </a:lnTo>
                  <a:cubicBezTo>
                    <a:pt x="14" y="0"/>
                    <a:pt x="26" y="0"/>
                    <a:pt x="40" y="0"/>
                  </a:cubicBezTo>
                  <a:close/>
                </a:path>
              </a:pathLst>
            </a:custGeom>
            <a:solidFill>
              <a:schemeClr val="tx2"/>
            </a:solidFill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vert" wrap="square" lIns="79375" tIns="79375" rIns="79375" bIns="79375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8" name="Ellipse 23">
              <a:extLst>
                <a:ext uri="{FF2B5EF4-FFF2-40B4-BE49-F238E27FC236}">
                  <a16:creationId xmlns:a16="http://schemas.microsoft.com/office/drawing/2014/main" id="{E6EF64A2-F142-4557-9A17-0A4E86CC5EB1}"/>
                </a:ext>
              </a:extLst>
            </p:cNvPr>
            <p:cNvSpPr/>
            <p:nvPr/>
          </p:nvSpPr>
          <p:spPr>
            <a:xfrm flipV="1">
              <a:off x="17366533" y="8659342"/>
              <a:ext cx="5580980" cy="5448163"/>
            </a:xfrm>
            <a:custGeom>
              <a:avLst/>
              <a:gdLst/>
              <a:ahLst/>
              <a:cxnLst/>
              <a:rect l="l" t="t" r="r" b="b"/>
              <a:pathLst>
                <a:path w="3688236" h="3600463">
                  <a:moveTo>
                    <a:pt x="90052" y="2242"/>
                  </a:moveTo>
                  <a:cubicBezTo>
                    <a:pt x="2056746" y="48167"/>
                    <a:pt x="3642326" y="1633769"/>
                    <a:pt x="3688236" y="3600462"/>
                  </a:cubicBezTo>
                  <a:lnTo>
                    <a:pt x="2529898" y="3600462"/>
                  </a:lnTo>
                  <a:cubicBezTo>
                    <a:pt x="2529894" y="3600463"/>
                    <a:pt x="2529892" y="3600463"/>
                    <a:pt x="2529888" y="3600463"/>
                  </a:cubicBezTo>
                  <a:lnTo>
                    <a:pt x="2529878" y="3600462"/>
                  </a:lnTo>
                  <a:lnTo>
                    <a:pt x="2504636" y="3600462"/>
                  </a:lnTo>
                  <a:lnTo>
                    <a:pt x="2504636" y="3597918"/>
                  </a:lnTo>
                  <a:cubicBezTo>
                    <a:pt x="2385710" y="3588212"/>
                    <a:pt x="2289254" y="3500183"/>
                    <a:pt x="2265548" y="3385525"/>
                  </a:cubicBezTo>
                  <a:lnTo>
                    <a:pt x="2263730" y="3385525"/>
                  </a:lnTo>
                  <a:cubicBezTo>
                    <a:pt x="2131648" y="2375956"/>
                    <a:pt x="1338670" y="1574933"/>
                    <a:pt x="332936" y="1431099"/>
                  </a:cubicBezTo>
                  <a:lnTo>
                    <a:pt x="332936" y="1428244"/>
                  </a:lnTo>
                  <a:cubicBezTo>
                    <a:pt x="194968" y="1417411"/>
                    <a:pt x="86876" y="1301641"/>
                    <a:pt x="86876" y="1160626"/>
                  </a:cubicBezTo>
                  <a:lnTo>
                    <a:pt x="90052" y="1129121"/>
                  </a:lnTo>
                  <a:close/>
                  <a:moveTo>
                    <a:pt x="40" y="0"/>
                  </a:moveTo>
                  <a:lnTo>
                    <a:pt x="80" y="1"/>
                  </a:lnTo>
                  <a:lnTo>
                    <a:pt x="0" y="1"/>
                  </a:lnTo>
                  <a:cubicBezTo>
                    <a:pt x="14" y="0"/>
                    <a:pt x="26" y="0"/>
                    <a:pt x="40" y="0"/>
                  </a:cubicBezTo>
                  <a:close/>
                </a:path>
              </a:pathLst>
            </a:custGeom>
            <a:solidFill>
              <a:schemeClr val="tx2"/>
            </a:solidFill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9" name="Ellipse 23">
              <a:extLst>
                <a:ext uri="{FF2B5EF4-FFF2-40B4-BE49-F238E27FC236}">
                  <a16:creationId xmlns:a16="http://schemas.microsoft.com/office/drawing/2014/main" id="{FC3467E3-1236-4D06-975F-BCDC30BBE58C}"/>
                </a:ext>
              </a:extLst>
            </p:cNvPr>
            <p:cNvSpPr/>
            <p:nvPr/>
          </p:nvSpPr>
          <p:spPr>
            <a:xfrm rot="5400000" flipV="1">
              <a:off x="11715822" y="8592933"/>
              <a:ext cx="5580980" cy="5448163"/>
            </a:xfrm>
            <a:custGeom>
              <a:avLst/>
              <a:gdLst/>
              <a:ahLst/>
              <a:cxnLst/>
              <a:rect l="l" t="t" r="r" b="b"/>
              <a:pathLst>
                <a:path w="3688236" h="3600463">
                  <a:moveTo>
                    <a:pt x="90052" y="2242"/>
                  </a:moveTo>
                  <a:cubicBezTo>
                    <a:pt x="2056746" y="48167"/>
                    <a:pt x="3642326" y="1633769"/>
                    <a:pt x="3688236" y="3600462"/>
                  </a:cubicBezTo>
                  <a:lnTo>
                    <a:pt x="2529898" y="3600462"/>
                  </a:lnTo>
                  <a:cubicBezTo>
                    <a:pt x="2529894" y="3600463"/>
                    <a:pt x="2529892" y="3600463"/>
                    <a:pt x="2529888" y="3600463"/>
                  </a:cubicBezTo>
                  <a:lnTo>
                    <a:pt x="2529878" y="3600462"/>
                  </a:lnTo>
                  <a:lnTo>
                    <a:pt x="2504636" y="3600462"/>
                  </a:lnTo>
                  <a:lnTo>
                    <a:pt x="2504636" y="3597918"/>
                  </a:lnTo>
                  <a:cubicBezTo>
                    <a:pt x="2385710" y="3588212"/>
                    <a:pt x="2289254" y="3500183"/>
                    <a:pt x="2265548" y="3385525"/>
                  </a:cubicBezTo>
                  <a:lnTo>
                    <a:pt x="2263730" y="3385525"/>
                  </a:lnTo>
                  <a:cubicBezTo>
                    <a:pt x="2131648" y="2375956"/>
                    <a:pt x="1338670" y="1574933"/>
                    <a:pt x="332936" y="1431099"/>
                  </a:cubicBezTo>
                  <a:lnTo>
                    <a:pt x="332936" y="1428244"/>
                  </a:lnTo>
                  <a:cubicBezTo>
                    <a:pt x="194968" y="1417411"/>
                    <a:pt x="86876" y="1301641"/>
                    <a:pt x="86876" y="1160626"/>
                  </a:cubicBezTo>
                  <a:lnTo>
                    <a:pt x="90052" y="1129121"/>
                  </a:lnTo>
                  <a:close/>
                  <a:moveTo>
                    <a:pt x="40" y="0"/>
                  </a:moveTo>
                  <a:lnTo>
                    <a:pt x="80" y="1"/>
                  </a:lnTo>
                  <a:lnTo>
                    <a:pt x="0" y="1"/>
                  </a:lnTo>
                  <a:cubicBezTo>
                    <a:pt x="14" y="0"/>
                    <a:pt x="26" y="0"/>
                    <a:pt x="40" y="0"/>
                  </a:cubicBezTo>
                  <a:close/>
                </a:path>
              </a:pathLst>
            </a:custGeom>
            <a:solidFill>
              <a:schemeClr val="tx2"/>
            </a:solidFill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vert" wrap="square" lIns="79375" tIns="79375" rIns="79375" bIns="79375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5FF173DE-A397-4928-BAD7-B2C255BF11C9}"/>
                </a:ext>
              </a:extLst>
            </p:cNvPr>
            <p:cNvSpPr/>
            <p:nvPr/>
          </p:nvSpPr>
          <p:spPr>
            <a:xfrm>
              <a:off x="13581365" y="5196498"/>
              <a:ext cx="3420437" cy="306039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>
              <a:glow rad="228600">
                <a:schemeClr val="bg1">
                  <a:alpha val="71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b" anchorCtr="0">
              <a:noAutofit/>
            </a:bodyPr>
            <a:lstStyle/>
            <a:p>
              <a:pPr marL="0" marR="0" indent="0" algn="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6000" u="none" strike="noStrike" cap="none" spc="0" normalizeH="0" baseline="0" dirty="0">
                  <a:ln>
                    <a:noFill/>
                  </a:ln>
                  <a:effectLst/>
                  <a:uFillTx/>
                  <a:ea typeface="+mn-ea"/>
                  <a:cs typeface="+mn-cs"/>
                  <a:sym typeface="Helvetica Light"/>
                </a:rPr>
                <a:t>1</a:t>
              </a: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CF2CBCF-E9CA-412F-AA29-84ABF3827E12}"/>
                </a:ext>
              </a:extLst>
            </p:cNvPr>
            <p:cNvSpPr/>
            <p:nvPr/>
          </p:nvSpPr>
          <p:spPr>
            <a:xfrm>
              <a:off x="17721894" y="5196498"/>
              <a:ext cx="3420437" cy="306039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>
              <a:glow rad="228600">
                <a:schemeClr val="bg1">
                  <a:alpha val="71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b" anchorCtr="0">
              <a:noAutofit/>
            </a:bodyPr>
            <a:lstStyle/>
            <a:p>
              <a:pPr marL="0" marR="0" indent="0" algn="l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6000" u="none" strike="noStrike" cap="none" spc="0" normalizeH="0" baseline="0" dirty="0">
                  <a:ln>
                    <a:noFill/>
                  </a:ln>
                  <a:effectLst/>
                  <a:uFillTx/>
                  <a:ea typeface="+mn-ea"/>
                  <a:cs typeface="+mn-cs"/>
                  <a:sym typeface="Helvetica Light"/>
                </a:rPr>
                <a:t>2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91BBC62F-FFC4-41E0-BF6F-C8ECCF07B292}"/>
                </a:ext>
              </a:extLst>
            </p:cNvPr>
            <p:cNvSpPr/>
            <p:nvPr/>
          </p:nvSpPr>
          <p:spPr>
            <a:xfrm>
              <a:off x="13581365" y="8796958"/>
              <a:ext cx="3420437" cy="306039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>
              <a:glow rad="228600">
                <a:schemeClr val="bg1">
                  <a:alpha val="71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t" anchorCtr="0">
              <a:noAutofit/>
            </a:bodyPr>
            <a:lstStyle/>
            <a:p>
              <a:pPr marL="0" marR="0" indent="0" algn="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6000" u="none" strike="noStrike" cap="none" spc="0" normalizeH="0" baseline="0" dirty="0">
                  <a:ln>
                    <a:noFill/>
                  </a:ln>
                  <a:effectLst/>
                  <a:uFillTx/>
                  <a:ea typeface="+mn-ea"/>
                  <a:cs typeface="+mn-cs"/>
                  <a:sym typeface="Helvetica Light"/>
                </a:rPr>
                <a:t>4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9338ECDA-8578-4857-A9F0-08E6031AEC7E}"/>
                </a:ext>
              </a:extLst>
            </p:cNvPr>
            <p:cNvSpPr/>
            <p:nvPr/>
          </p:nvSpPr>
          <p:spPr>
            <a:xfrm>
              <a:off x="17721894" y="8796958"/>
              <a:ext cx="3420437" cy="306039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>
              <a:glow rad="228600">
                <a:schemeClr val="bg1">
                  <a:alpha val="71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t" anchorCtr="0">
              <a:noAutofit/>
            </a:bodyPr>
            <a:lstStyle/>
            <a:p>
              <a:pPr marL="0" marR="0" indent="0" algn="l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6000" u="none" strike="noStrike" cap="none" spc="0" normalizeH="0" baseline="0" dirty="0">
                  <a:ln>
                    <a:noFill/>
                  </a:ln>
                  <a:effectLst/>
                  <a:uFillTx/>
                  <a:ea typeface="+mn-ea"/>
                  <a:cs typeface="+mn-cs"/>
                  <a:sym typeface="Helvetica Light"/>
                </a:rPr>
                <a:t>3</a:t>
              </a: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B2A3F0B-DC88-4C87-BAC1-C91E44C0F62A}"/>
                </a:ext>
              </a:extLst>
            </p:cNvPr>
            <p:cNvSpPr/>
            <p:nvPr/>
          </p:nvSpPr>
          <p:spPr>
            <a:xfrm>
              <a:off x="13221319" y="5099188"/>
              <a:ext cx="1260161" cy="126016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j-lt"/>
                  <a:ea typeface="+mn-ea"/>
                  <a:cs typeface="+mn-cs"/>
                  <a:sym typeface="Helvetica Light"/>
                </a:rPr>
                <a:t>MM</a:t>
              </a: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9425A26A-3E27-4D22-B2F7-904A37E2D86D}"/>
                </a:ext>
              </a:extLst>
            </p:cNvPr>
            <p:cNvSpPr/>
            <p:nvPr/>
          </p:nvSpPr>
          <p:spPr>
            <a:xfrm>
              <a:off x="20242216" y="5032777"/>
              <a:ext cx="1260161" cy="126016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j-lt"/>
                  <a:ea typeface="+mn-ea"/>
                  <a:cs typeface="+mn-cs"/>
                  <a:sym typeface="Helvetica Light"/>
                </a:rPr>
                <a:t>FS</a:t>
              </a: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5C9D40F2-9428-4BD5-80EB-47B20093EE16}"/>
                </a:ext>
              </a:extLst>
            </p:cNvPr>
            <p:cNvSpPr/>
            <p:nvPr/>
          </p:nvSpPr>
          <p:spPr>
            <a:xfrm>
              <a:off x="13221319" y="10686934"/>
              <a:ext cx="1260161" cy="126016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j-lt"/>
                  <a:ea typeface="+mn-ea"/>
                  <a:cs typeface="+mn-cs"/>
                  <a:sym typeface="Helvetica Light"/>
                </a:rPr>
                <a:t>PS</a:t>
              </a: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437EA08E-1E71-451A-98F6-ED9F02DF644A}"/>
                </a:ext>
              </a:extLst>
            </p:cNvPr>
            <p:cNvSpPr/>
            <p:nvPr/>
          </p:nvSpPr>
          <p:spPr>
            <a:xfrm>
              <a:off x="20242216" y="10753343"/>
              <a:ext cx="1260161" cy="126016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j-lt"/>
                  <a:ea typeface="+mn-ea"/>
                  <a:cs typeface="+mn-cs"/>
                  <a:sym typeface="Helvetica Light"/>
                </a:rPr>
                <a:t>GK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8DBE1970-5937-482A-9C88-5E82C93A3669}"/>
              </a:ext>
            </a:extLst>
          </p:cNvPr>
          <p:cNvGrpSpPr/>
          <p:nvPr/>
        </p:nvGrpSpPr>
        <p:grpSpPr>
          <a:xfrm flipH="1">
            <a:off x="7217376" y="2262360"/>
            <a:ext cx="3748424" cy="3748422"/>
            <a:chOff x="2713412" y="2092906"/>
            <a:chExt cx="3748424" cy="3748422"/>
          </a:xfrm>
        </p:grpSpPr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CCD6C082-4C31-4695-B7E8-76122408E4D5}"/>
                </a:ext>
              </a:extLst>
            </p:cNvPr>
            <p:cNvGrpSpPr/>
            <p:nvPr>
              <p:custDataLst>
                <p:tags r:id="rId1"/>
              </p:custDataLst>
            </p:nvPr>
          </p:nvGrpSpPr>
          <p:grpSpPr bwMode="gray">
            <a:xfrm rot="18878551">
              <a:off x="2713413" y="2092905"/>
              <a:ext cx="3748422" cy="3748424"/>
              <a:chOff x="3126582" y="2424420"/>
              <a:chExt cx="2849562" cy="2849563"/>
            </a:xfrm>
            <a:solidFill>
              <a:schemeClr val="tx2"/>
            </a:solidFill>
          </p:grpSpPr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id="{35C4E14A-6B49-4B9B-A33E-2D3FAC470D9B}"/>
                  </a:ext>
                </a:extLst>
              </p:cNvPr>
              <p:cNvSpPr>
                <a:spLocks/>
              </p:cNvSpPr>
              <p:nvPr/>
            </p:nvSpPr>
            <p:spPr bwMode="gray">
              <a:xfrm rot="18900000">
                <a:off x="3913982" y="4046845"/>
                <a:ext cx="1382712" cy="1227138"/>
              </a:xfrm>
              <a:custGeom>
                <a:avLst/>
                <a:gdLst>
                  <a:gd name="T0" fmla="*/ 592 w 621"/>
                  <a:gd name="T1" fmla="*/ 408 h 551"/>
                  <a:gd name="T2" fmla="*/ 572 w 621"/>
                  <a:gd name="T3" fmla="*/ 415 h 551"/>
                  <a:gd name="T4" fmla="*/ 554 w 621"/>
                  <a:gd name="T5" fmla="*/ 419 h 551"/>
                  <a:gd name="T6" fmla="*/ 551 w 621"/>
                  <a:gd name="T7" fmla="*/ 416 h 551"/>
                  <a:gd name="T8" fmla="*/ 551 w 621"/>
                  <a:gd name="T9" fmla="*/ 409 h 551"/>
                  <a:gd name="T10" fmla="*/ 551 w 621"/>
                  <a:gd name="T11" fmla="*/ 328 h 551"/>
                  <a:gd name="T12" fmla="*/ 223 w 621"/>
                  <a:gd name="T13" fmla="*/ 0 h 551"/>
                  <a:gd name="T14" fmla="*/ 143 w 621"/>
                  <a:gd name="T15" fmla="*/ 0 h 551"/>
                  <a:gd name="T16" fmla="*/ 133 w 621"/>
                  <a:gd name="T17" fmla="*/ 0 h 551"/>
                  <a:gd name="T18" fmla="*/ 131 w 621"/>
                  <a:gd name="T19" fmla="*/ 4 h 551"/>
                  <a:gd name="T20" fmla="*/ 134 w 621"/>
                  <a:gd name="T21" fmla="*/ 22 h 551"/>
                  <a:gd name="T22" fmla="*/ 134 w 621"/>
                  <a:gd name="T23" fmla="*/ 22 h 551"/>
                  <a:gd name="T24" fmla="*/ 141 w 621"/>
                  <a:gd name="T25" fmla="*/ 41 h 551"/>
                  <a:gd name="T26" fmla="*/ 111 w 621"/>
                  <a:gd name="T27" fmla="*/ 71 h 551"/>
                  <a:gd name="T28" fmla="*/ 81 w 621"/>
                  <a:gd name="T29" fmla="*/ 41 h 551"/>
                  <a:gd name="T30" fmla="*/ 89 w 621"/>
                  <a:gd name="T31" fmla="*/ 22 h 551"/>
                  <a:gd name="T32" fmla="*/ 92 w 621"/>
                  <a:gd name="T33" fmla="*/ 4 h 551"/>
                  <a:gd name="T34" fmla="*/ 90 w 621"/>
                  <a:gd name="T35" fmla="*/ 0 h 551"/>
                  <a:gd name="T36" fmla="*/ 82 w 621"/>
                  <a:gd name="T37" fmla="*/ 0 h 551"/>
                  <a:gd name="T38" fmla="*/ 0 w 621"/>
                  <a:gd name="T39" fmla="*/ 0 h 551"/>
                  <a:gd name="T40" fmla="*/ 551 w 621"/>
                  <a:gd name="T41" fmla="*/ 551 h 551"/>
                  <a:gd name="T42" fmla="*/ 551 w 621"/>
                  <a:gd name="T43" fmla="*/ 551 h 551"/>
                  <a:gd name="T44" fmla="*/ 551 w 621"/>
                  <a:gd name="T45" fmla="*/ 470 h 551"/>
                  <a:gd name="T46" fmla="*/ 551 w 621"/>
                  <a:gd name="T47" fmla="*/ 460 h 551"/>
                  <a:gd name="T48" fmla="*/ 554 w 621"/>
                  <a:gd name="T49" fmla="*/ 457 h 551"/>
                  <a:gd name="T50" fmla="*/ 572 w 621"/>
                  <a:gd name="T51" fmla="*/ 461 h 551"/>
                  <a:gd name="T52" fmla="*/ 572 w 621"/>
                  <a:gd name="T53" fmla="*/ 461 h 551"/>
                  <a:gd name="T54" fmla="*/ 592 w 621"/>
                  <a:gd name="T55" fmla="*/ 468 h 551"/>
                  <a:gd name="T56" fmla="*/ 621 w 621"/>
                  <a:gd name="T57" fmla="*/ 438 h 551"/>
                  <a:gd name="T58" fmla="*/ 592 w 621"/>
                  <a:gd name="T59" fmla="*/ 408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21" h="551">
                    <a:moveTo>
                      <a:pt x="592" y="408"/>
                    </a:moveTo>
                    <a:cubicBezTo>
                      <a:pt x="584" y="408"/>
                      <a:pt x="577" y="410"/>
                      <a:pt x="572" y="415"/>
                    </a:cubicBezTo>
                    <a:cubicBezTo>
                      <a:pt x="568" y="420"/>
                      <a:pt x="561" y="421"/>
                      <a:pt x="554" y="419"/>
                    </a:cubicBezTo>
                    <a:cubicBezTo>
                      <a:pt x="553" y="418"/>
                      <a:pt x="552" y="417"/>
                      <a:pt x="551" y="416"/>
                    </a:cubicBezTo>
                    <a:cubicBezTo>
                      <a:pt x="551" y="409"/>
                      <a:pt x="551" y="409"/>
                      <a:pt x="551" y="409"/>
                    </a:cubicBezTo>
                    <a:cubicBezTo>
                      <a:pt x="551" y="328"/>
                      <a:pt x="551" y="328"/>
                      <a:pt x="551" y="328"/>
                    </a:cubicBezTo>
                    <a:cubicBezTo>
                      <a:pt x="369" y="328"/>
                      <a:pt x="223" y="181"/>
                      <a:pt x="223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2" y="1"/>
                      <a:pt x="131" y="2"/>
                      <a:pt x="131" y="4"/>
                    </a:cubicBezTo>
                    <a:cubicBezTo>
                      <a:pt x="128" y="10"/>
                      <a:pt x="129" y="18"/>
                      <a:pt x="134" y="22"/>
                    </a:cubicBezTo>
                    <a:cubicBezTo>
                      <a:pt x="134" y="22"/>
                      <a:pt x="134" y="22"/>
                      <a:pt x="134" y="22"/>
                    </a:cubicBezTo>
                    <a:cubicBezTo>
                      <a:pt x="139" y="27"/>
                      <a:pt x="141" y="34"/>
                      <a:pt x="141" y="41"/>
                    </a:cubicBezTo>
                    <a:cubicBezTo>
                      <a:pt x="141" y="58"/>
                      <a:pt x="128" y="71"/>
                      <a:pt x="111" y="71"/>
                    </a:cubicBezTo>
                    <a:cubicBezTo>
                      <a:pt x="94" y="71"/>
                      <a:pt x="81" y="58"/>
                      <a:pt x="81" y="41"/>
                    </a:cubicBezTo>
                    <a:cubicBezTo>
                      <a:pt x="81" y="34"/>
                      <a:pt x="84" y="27"/>
                      <a:pt x="89" y="22"/>
                    </a:cubicBezTo>
                    <a:cubicBezTo>
                      <a:pt x="93" y="18"/>
                      <a:pt x="95" y="10"/>
                      <a:pt x="92" y="4"/>
                    </a:cubicBezTo>
                    <a:cubicBezTo>
                      <a:pt x="91" y="2"/>
                      <a:pt x="91" y="1"/>
                      <a:pt x="90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04"/>
                      <a:pt x="247" y="551"/>
                      <a:pt x="551" y="551"/>
                    </a:cubicBezTo>
                    <a:cubicBezTo>
                      <a:pt x="551" y="551"/>
                      <a:pt x="551" y="551"/>
                      <a:pt x="551" y="551"/>
                    </a:cubicBezTo>
                    <a:cubicBezTo>
                      <a:pt x="551" y="470"/>
                      <a:pt x="551" y="470"/>
                      <a:pt x="551" y="470"/>
                    </a:cubicBezTo>
                    <a:cubicBezTo>
                      <a:pt x="551" y="460"/>
                      <a:pt x="551" y="460"/>
                      <a:pt x="551" y="460"/>
                    </a:cubicBezTo>
                    <a:cubicBezTo>
                      <a:pt x="552" y="459"/>
                      <a:pt x="553" y="458"/>
                      <a:pt x="554" y="457"/>
                    </a:cubicBezTo>
                    <a:cubicBezTo>
                      <a:pt x="561" y="454"/>
                      <a:pt x="568" y="456"/>
                      <a:pt x="572" y="461"/>
                    </a:cubicBezTo>
                    <a:cubicBezTo>
                      <a:pt x="572" y="461"/>
                      <a:pt x="572" y="461"/>
                      <a:pt x="572" y="461"/>
                    </a:cubicBezTo>
                    <a:cubicBezTo>
                      <a:pt x="578" y="465"/>
                      <a:pt x="584" y="468"/>
                      <a:pt x="592" y="468"/>
                    </a:cubicBezTo>
                    <a:cubicBezTo>
                      <a:pt x="608" y="468"/>
                      <a:pt x="621" y="455"/>
                      <a:pt x="621" y="438"/>
                    </a:cubicBezTo>
                    <a:cubicBezTo>
                      <a:pt x="621" y="421"/>
                      <a:pt x="608" y="408"/>
                      <a:pt x="592" y="40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200"/>
              </a:p>
            </p:txBody>
          </p:sp>
          <p:sp>
            <p:nvSpPr>
              <p:cNvPr id="29" name="Freeform 11">
                <a:extLst>
                  <a:ext uri="{FF2B5EF4-FFF2-40B4-BE49-F238E27FC236}">
                    <a16:creationId xmlns:a16="http://schemas.microsoft.com/office/drawing/2014/main" id="{79482827-F4FA-448E-99CE-2C4F1264FCF0}"/>
                  </a:ext>
                </a:extLst>
              </p:cNvPr>
              <p:cNvSpPr>
                <a:spLocks/>
              </p:cNvSpPr>
              <p:nvPr/>
            </p:nvSpPr>
            <p:spPr bwMode="gray">
              <a:xfrm rot="18900000">
                <a:off x="3126582" y="3213408"/>
                <a:ext cx="1227137" cy="1382712"/>
              </a:xfrm>
              <a:custGeom>
                <a:avLst/>
                <a:gdLst>
                  <a:gd name="T0" fmla="*/ 551 w 551"/>
                  <a:gd name="T1" fmla="*/ 132 h 621"/>
                  <a:gd name="T2" fmla="*/ 547 w 551"/>
                  <a:gd name="T3" fmla="*/ 130 h 621"/>
                  <a:gd name="T4" fmla="*/ 529 w 551"/>
                  <a:gd name="T5" fmla="*/ 133 h 621"/>
                  <a:gd name="T6" fmla="*/ 529 w 551"/>
                  <a:gd name="T7" fmla="*/ 133 h 621"/>
                  <a:gd name="T8" fmla="*/ 510 w 551"/>
                  <a:gd name="T9" fmla="*/ 141 h 621"/>
                  <a:gd name="T10" fmla="*/ 480 w 551"/>
                  <a:gd name="T11" fmla="*/ 111 h 621"/>
                  <a:gd name="T12" fmla="*/ 510 w 551"/>
                  <a:gd name="T13" fmla="*/ 80 h 621"/>
                  <a:gd name="T14" fmla="*/ 529 w 551"/>
                  <a:gd name="T15" fmla="*/ 88 h 621"/>
                  <a:gd name="T16" fmla="*/ 547 w 551"/>
                  <a:gd name="T17" fmla="*/ 91 h 621"/>
                  <a:gd name="T18" fmla="*/ 551 w 551"/>
                  <a:gd name="T19" fmla="*/ 89 h 621"/>
                  <a:gd name="T20" fmla="*/ 551 w 551"/>
                  <a:gd name="T21" fmla="*/ 82 h 621"/>
                  <a:gd name="T22" fmla="*/ 551 w 551"/>
                  <a:gd name="T23" fmla="*/ 0 h 621"/>
                  <a:gd name="T24" fmla="*/ 551 w 551"/>
                  <a:gd name="T25" fmla="*/ 0 h 621"/>
                  <a:gd name="T26" fmla="*/ 0 w 551"/>
                  <a:gd name="T27" fmla="*/ 550 h 621"/>
                  <a:gd name="T28" fmla="*/ 82 w 551"/>
                  <a:gd name="T29" fmla="*/ 550 h 621"/>
                  <a:gd name="T30" fmla="*/ 90 w 551"/>
                  <a:gd name="T31" fmla="*/ 550 h 621"/>
                  <a:gd name="T32" fmla="*/ 92 w 551"/>
                  <a:gd name="T33" fmla="*/ 554 h 621"/>
                  <a:gd name="T34" fmla="*/ 89 w 551"/>
                  <a:gd name="T35" fmla="*/ 572 h 621"/>
                  <a:gd name="T36" fmla="*/ 81 w 551"/>
                  <a:gd name="T37" fmla="*/ 591 h 621"/>
                  <a:gd name="T38" fmla="*/ 111 w 551"/>
                  <a:gd name="T39" fmla="*/ 621 h 621"/>
                  <a:gd name="T40" fmla="*/ 141 w 551"/>
                  <a:gd name="T41" fmla="*/ 591 h 621"/>
                  <a:gd name="T42" fmla="*/ 134 w 551"/>
                  <a:gd name="T43" fmla="*/ 572 h 621"/>
                  <a:gd name="T44" fmla="*/ 134 w 551"/>
                  <a:gd name="T45" fmla="*/ 572 h 621"/>
                  <a:gd name="T46" fmla="*/ 131 w 551"/>
                  <a:gd name="T47" fmla="*/ 554 h 621"/>
                  <a:gd name="T48" fmla="*/ 133 w 551"/>
                  <a:gd name="T49" fmla="*/ 550 h 621"/>
                  <a:gd name="T50" fmla="*/ 143 w 551"/>
                  <a:gd name="T51" fmla="*/ 550 h 621"/>
                  <a:gd name="T52" fmla="*/ 223 w 551"/>
                  <a:gd name="T53" fmla="*/ 550 h 621"/>
                  <a:gd name="T54" fmla="*/ 551 w 551"/>
                  <a:gd name="T55" fmla="*/ 222 h 621"/>
                  <a:gd name="T56" fmla="*/ 551 w 551"/>
                  <a:gd name="T57" fmla="*/ 142 h 621"/>
                  <a:gd name="T58" fmla="*/ 551 w 551"/>
                  <a:gd name="T59" fmla="*/ 132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51" h="621">
                    <a:moveTo>
                      <a:pt x="551" y="132"/>
                    </a:moveTo>
                    <a:cubicBezTo>
                      <a:pt x="550" y="131"/>
                      <a:pt x="548" y="131"/>
                      <a:pt x="547" y="130"/>
                    </a:cubicBezTo>
                    <a:cubicBezTo>
                      <a:pt x="541" y="127"/>
                      <a:pt x="533" y="129"/>
                      <a:pt x="529" y="133"/>
                    </a:cubicBezTo>
                    <a:cubicBezTo>
                      <a:pt x="529" y="133"/>
                      <a:pt x="529" y="133"/>
                      <a:pt x="529" y="133"/>
                    </a:cubicBezTo>
                    <a:cubicBezTo>
                      <a:pt x="524" y="138"/>
                      <a:pt x="517" y="141"/>
                      <a:pt x="510" y="141"/>
                    </a:cubicBezTo>
                    <a:cubicBezTo>
                      <a:pt x="493" y="141"/>
                      <a:pt x="480" y="127"/>
                      <a:pt x="480" y="111"/>
                    </a:cubicBezTo>
                    <a:cubicBezTo>
                      <a:pt x="480" y="94"/>
                      <a:pt x="493" y="80"/>
                      <a:pt x="510" y="80"/>
                    </a:cubicBezTo>
                    <a:cubicBezTo>
                      <a:pt x="517" y="80"/>
                      <a:pt x="524" y="83"/>
                      <a:pt x="529" y="88"/>
                    </a:cubicBezTo>
                    <a:cubicBezTo>
                      <a:pt x="533" y="92"/>
                      <a:pt x="541" y="94"/>
                      <a:pt x="547" y="91"/>
                    </a:cubicBezTo>
                    <a:cubicBezTo>
                      <a:pt x="548" y="91"/>
                      <a:pt x="550" y="90"/>
                      <a:pt x="551" y="89"/>
                    </a:cubicBezTo>
                    <a:cubicBezTo>
                      <a:pt x="551" y="82"/>
                      <a:pt x="551" y="82"/>
                      <a:pt x="551" y="82"/>
                    </a:cubicBez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0"/>
                    </a:cubicBezTo>
                    <a:cubicBezTo>
                      <a:pt x="247" y="0"/>
                      <a:pt x="0" y="246"/>
                      <a:pt x="0" y="550"/>
                    </a:cubicBezTo>
                    <a:cubicBezTo>
                      <a:pt x="82" y="550"/>
                      <a:pt x="82" y="550"/>
                      <a:pt x="82" y="550"/>
                    </a:cubicBezTo>
                    <a:cubicBezTo>
                      <a:pt x="90" y="550"/>
                      <a:pt x="90" y="550"/>
                      <a:pt x="90" y="550"/>
                    </a:cubicBezTo>
                    <a:cubicBezTo>
                      <a:pt x="91" y="551"/>
                      <a:pt x="91" y="552"/>
                      <a:pt x="92" y="554"/>
                    </a:cubicBezTo>
                    <a:cubicBezTo>
                      <a:pt x="95" y="560"/>
                      <a:pt x="93" y="568"/>
                      <a:pt x="89" y="572"/>
                    </a:cubicBezTo>
                    <a:cubicBezTo>
                      <a:pt x="84" y="577"/>
                      <a:pt x="81" y="584"/>
                      <a:pt x="81" y="591"/>
                    </a:cubicBezTo>
                    <a:cubicBezTo>
                      <a:pt x="81" y="608"/>
                      <a:pt x="94" y="621"/>
                      <a:pt x="111" y="621"/>
                    </a:cubicBezTo>
                    <a:cubicBezTo>
                      <a:pt x="128" y="621"/>
                      <a:pt x="141" y="608"/>
                      <a:pt x="141" y="591"/>
                    </a:cubicBezTo>
                    <a:cubicBezTo>
                      <a:pt x="141" y="584"/>
                      <a:pt x="139" y="577"/>
                      <a:pt x="134" y="572"/>
                    </a:cubicBezTo>
                    <a:cubicBezTo>
                      <a:pt x="134" y="572"/>
                      <a:pt x="134" y="572"/>
                      <a:pt x="134" y="572"/>
                    </a:cubicBezTo>
                    <a:cubicBezTo>
                      <a:pt x="129" y="568"/>
                      <a:pt x="128" y="560"/>
                      <a:pt x="131" y="554"/>
                    </a:cubicBezTo>
                    <a:cubicBezTo>
                      <a:pt x="131" y="552"/>
                      <a:pt x="132" y="551"/>
                      <a:pt x="133" y="550"/>
                    </a:cubicBezTo>
                    <a:cubicBezTo>
                      <a:pt x="143" y="550"/>
                      <a:pt x="143" y="550"/>
                      <a:pt x="143" y="550"/>
                    </a:cubicBezTo>
                    <a:cubicBezTo>
                      <a:pt x="223" y="550"/>
                      <a:pt x="223" y="550"/>
                      <a:pt x="223" y="550"/>
                    </a:cubicBezTo>
                    <a:cubicBezTo>
                      <a:pt x="223" y="369"/>
                      <a:pt x="369" y="222"/>
                      <a:pt x="551" y="222"/>
                    </a:cubicBezTo>
                    <a:cubicBezTo>
                      <a:pt x="551" y="142"/>
                      <a:pt x="551" y="142"/>
                      <a:pt x="551" y="142"/>
                    </a:cubicBezTo>
                    <a:lnTo>
                      <a:pt x="551" y="132"/>
                    </a:ln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200"/>
              </a:p>
            </p:txBody>
          </p:sp>
          <p:sp>
            <p:nvSpPr>
              <p:cNvPr id="30" name="Freeform 12">
                <a:extLst>
                  <a:ext uri="{FF2B5EF4-FFF2-40B4-BE49-F238E27FC236}">
                    <a16:creationId xmlns:a16="http://schemas.microsoft.com/office/drawing/2014/main" id="{0E0F6064-9313-471C-9D78-80758C4FEF8D}"/>
                  </a:ext>
                </a:extLst>
              </p:cNvPr>
              <p:cNvSpPr>
                <a:spLocks/>
              </p:cNvSpPr>
              <p:nvPr/>
            </p:nvSpPr>
            <p:spPr bwMode="gray">
              <a:xfrm rot="18900000">
                <a:off x="3804444" y="2424420"/>
                <a:ext cx="1382713" cy="1223963"/>
              </a:xfrm>
              <a:custGeom>
                <a:avLst/>
                <a:gdLst>
                  <a:gd name="T0" fmla="*/ 71 w 621"/>
                  <a:gd name="T1" fmla="*/ 142 h 550"/>
                  <a:gd name="T2" fmla="*/ 71 w 621"/>
                  <a:gd name="T3" fmla="*/ 222 h 550"/>
                  <a:gd name="T4" fmla="*/ 399 w 621"/>
                  <a:gd name="T5" fmla="*/ 550 h 550"/>
                  <a:gd name="T6" fmla="*/ 480 w 621"/>
                  <a:gd name="T7" fmla="*/ 550 h 550"/>
                  <a:gd name="T8" fmla="*/ 487 w 621"/>
                  <a:gd name="T9" fmla="*/ 550 h 550"/>
                  <a:gd name="T10" fmla="*/ 490 w 621"/>
                  <a:gd name="T11" fmla="*/ 547 h 550"/>
                  <a:gd name="T12" fmla="*/ 486 w 621"/>
                  <a:gd name="T13" fmla="*/ 529 h 550"/>
                  <a:gd name="T14" fmla="*/ 479 w 621"/>
                  <a:gd name="T15" fmla="*/ 509 h 550"/>
                  <a:gd name="T16" fmla="*/ 509 w 621"/>
                  <a:gd name="T17" fmla="*/ 480 h 550"/>
                  <a:gd name="T18" fmla="*/ 539 w 621"/>
                  <a:gd name="T19" fmla="*/ 509 h 550"/>
                  <a:gd name="T20" fmla="*/ 532 w 621"/>
                  <a:gd name="T21" fmla="*/ 528 h 550"/>
                  <a:gd name="T22" fmla="*/ 532 w 621"/>
                  <a:gd name="T23" fmla="*/ 529 h 550"/>
                  <a:gd name="T24" fmla="*/ 528 w 621"/>
                  <a:gd name="T25" fmla="*/ 547 h 550"/>
                  <a:gd name="T26" fmla="*/ 531 w 621"/>
                  <a:gd name="T27" fmla="*/ 550 h 550"/>
                  <a:gd name="T28" fmla="*/ 541 w 621"/>
                  <a:gd name="T29" fmla="*/ 550 h 550"/>
                  <a:gd name="T30" fmla="*/ 621 w 621"/>
                  <a:gd name="T31" fmla="*/ 550 h 550"/>
                  <a:gd name="T32" fmla="*/ 71 w 621"/>
                  <a:gd name="T33" fmla="*/ 0 h 550"/>
                  <a:gd name="T34" fmla="*/ 71 w 621"/>
                  <a:gd name="T35" fmla="*/ 82 h 550"/>
                  <a:gd name="T36" fmla="*/ 71 w 621"/>
                  <a:gd name="T37" fmla="*/ 89 h 550"/>
                  <a:gd name="T38" fmla="*/ 67 w 621"/>
                  <a:gd name="T39" fmla="*/ 91 h 550"/>
                  <a:gd name="T40" fmla="*/ 49 w 621"/>
                  <a:gd name="T41" fmla="*/ 88 h 550"/>
                  <a:gd name="T42" fmla="*/ 30 w 621"/>
                  <a:gd name="T43" fmla="*/ 80 h 550"/>
                  <a:gd name="T44" fmla="*/ 0 w 621"/>
                  <a:gd name="T45" fmla="*/ 111 h 550"/>
                  <a:gd name="T46" fmla="*/ 30 w 621"/>
                  <a:gd name="T47" fmla="*/ 141 h 550"/>
                  <a:gd name="T48" fmla="*/ 49 w 621"/>
                  <a:gd name="T49" fmla="*/ 133 h 550"/>
                  <a:gd name="T50" fmla="*/ 49 w 621"/>
                  <a:gd name="T51" fmla="*/ 133 h 550"/>
                  <a:gd name="T52" fmla="*/ 67 w 621"/>
                  <a:gd name="T53" fmla="*/ 130 h 550"/>
                  <a:gd name="T54" fmla="*/ 71 w 621"/>
                  <a:gd name="T55" fmla="*/ 132 h 550"/>
                  <a:gd name="T56" fmla="*/ 71 w 621"/>
                  <a:gd name="T57" fmla="*/ 142 h 5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21" h="550">
                    <a:moveTo>
                      <a:pt x="71" y="142"/>
                    </a:moveTo>
                    <a:cubicBezTo>
                      <a:pt x="71" y="222"/>
                      <a:pt x="71" y="222"/>
                      <a:pt x="71" y="222"/>
                    </a:cubicBezTo>
                    <a:cubicBezTo>
                      <a:pt x="252" y="222"/>
                      <a:pt x="399" y="369"/>
                      <a:pt x="399" y="550"/>
                    </a:cubicBezTo>
                    <a:cubicBezTo>
                      <a:pt x="480" y="550"/>
                      <a:pt x="480" y="550"/>
                      <a:pt x="480" y="550"/>
                    </a:cubicBezTo>
                    <a:cubicBezTo>
                      <a:pt x="487" y="550"/>
                      <a:pt x="487" y="550"/>
                      <a:pt x="487" y="550"/>
                    </a:cubicBezTo>
                    <a:cubicBezTo>
                      <a:pt x="488" y="549"/>
                      <a:pt x="489" y="548"/>
                      <a:pt x="490" y="547"/>
                    </a:cubicBezTo>
                    <a:cubicBezTo>
                      <a:pt x="492" y="540"/>
                      <a:pt x="491" y="533"/>
                      <a:pt x="486" y="529"/>
                    </a:cubicBezTo>
                    <a:cubicBezTo>
                      <a:pt x="481" y="523"/>
                      <a:pt x="479" y="517"/>
                      <a:pt x="479" y="509"/>
                    </a:cubicBezTo>
                    <a:cubicBezTo>
                      <a:pt x="479" y="493"/>
                      <a:pt x="492" y="480"/>
                      <a:pt x="509" y="480"/>
                    </a:cubicBezTo>
                    <a:cubicBezTo>
                      <a:pt x="526" y="480"/>
                      <a:pt x="539" y="493"/>
                      <a:pt x="539" y="509"/>
                    </a:cubicBezTo>
                    <a:cubicBezTo>
                      <a:pt x="539" y="517"/>
                      <a:pt x="536" y="523"/>
                      <a:pt x="532" y="528"/>
                    </a:cubicBezTo>
                    <a:cubicBezTo>
                      <a:pt x="532" y="529"/>
                      <a:pt x="532" y="529"/>
                      <a:pt x="532" y="529"/>
                    </a:cubicBezTo>
                    <a:cubicBezTo>
                      <a:pt x="527" y="533"/>
                      <a:pt x="525" y="540"/>
                      <a:pt x="528" y="547"/>
                    </a:cubicBezTo>
                    <a:cubicBezTo>
                      <a:pt x="529" y="548"/>
                      <a:pt x="530" y="549"/>
                      <a:pt x="531" y="550"/>
                    </a:cubicBezTo>
                    <a:cubicBezTo>
                      <a:pt x="541" y="550"/>
                      <a:pt x="541" y="550"/>
                      <a:pt x="541" y="550"/>
                    </a:cubicBezTo>
                    <a:cubicBezTo>
                      <a:pt x="621" y="550"/>
                      <a:pt x="621" y="550"/>
                      <a:pt x="621" y="550"/>
                    </a:cubicBezTo>
                    <a:cubicBezTo>
                      <a:pt x="621" y="246"/>
                      <a:pt x="375" y="0"/>
                      <a:pt x="71" y="0"/>
                    </a:cubicBezTo>
                    <a:cubicBezTo>
                      <a:pt x="71" y="82"/>
                      <a:pt x="71" y="82"/>
                      <a:pt x="71" y="82"/>
                    </a:cubicBezTo>
                    <a:cubicBezTo>
                      <a:pt x="71" y="89"/>
                      <a:pt x="71" y="89"/>
                      <a:pt x="71" y="89"/>
                    </a:cubicBezTo>
                    <a:cubicBezTo>
                      <a:pt x="70" y="90"/>
                      <a:pt x="68" y="91"/>
                      <a:pt x="67" y="91"/>
                    </a:cubicBezTo>
                    <a:cubicBezTo>
                      <a:pt x="61" y="94"/>
                      <a:pt x="53" y="92"/>
                      <a:pt x="49" y="88"/>
                    </a:cubicBezTo>
                    <a:cubicBezTo>
                      <a:pt x="44" y="83"/>
                      <a:pt x="37" y="80"/>
                      <a:pt x="30" y="80"/>
                    </a:cubicBezTo>
                    <a:cubicBezTo>
                      <a:pt x="13" y="80"/>
                      <a:pt x="0" y="94"/>
                      <a:pt x="0" y="111"/>
                    </a:cubicBezTo>
                    <a:cubicBezTo>
                      <a:pt x="0" y="127"/>
                      <a:pt x="13" y="141"/>
                      <a:pt x="30" y="141"/>
                    </a:cubicBezTo>
                    <a:cubicBezTo>
                      <a:pt x="37" y="141"/>
                      <a:pt x="44" y="138"/>
                      <a:pt x="49" y="133"/>
                    </a:cubicBezTo>
                    <a:cubicBezTo>
                      <a:pt x="49" y="133"/>
                      <a:pt x="49" y="133"/>
                      <a:pt x="49" y="133"/>
                    </a:cubicBezTo>
                    <a:cubicBezTo>
                      <a:pt x="53" y="129"/>
                      <a:pt x="61" y="127"/>
                      <a:pt x="67" y="130"/>
                    </a:cubicBezTo>
                    <a:cubicBezTo>
                      <a:pt x="68" y="131"/>
                      <a:pt x="70" y="131"/>
                      <a:pt x="71" y="132"/>
                    </a:cubicBezTo>
                    <a:lnTo>
                      <a:pt x="71" y="142"/>
                    </a:ln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200" dirty="0"/>
              </a:p>
            </p:txBody>
          </p:sp>
          <p:sp>
            <p:nvSpPr>
              <p:cNvPr id="31" name="Freeform 13">
                <a:extLst>
                  <a:ext uri="{FF2B5EF4-FFF2-40B4-BE49-F238E27FC236}">
                    <a16:creationId xmlns:a16="http://schemas.microsoft.com/office/drawing/2014/main" id="{E093425A-A69B-43B6-99B3-42B50F96EC5A}"/>
                  </a:ext>
                </a:extLst>
              </p:cNvPr>
              <p:cNvSpPr>
                <a:spLocks/>
              </p:cNvSpPr>
              <p:nvPr/>
            </p:nvSpPr>
            <p:spPr bwMode="gray">
              <a:xfrm rot="18900000">
                <a:off x="4750594" y="3102283"/>
                <a:ext cx="1225550" cy="1382712"/>
              </a:xfrm>
              <a:custGeom>
                <a:avLst/>
                <a:gdLst>
                  <a:gd name="T0" fmla="*/ 470 w 550"/>
                  <a:gd name="T1" fmla="*/ 70 h 621"/>
                  <a:gd name="T2" fmla="*/ 460 w 550"/>
                  <a:gd name="T3" fmla="*/ 70 h 621"/>
                  <a:gd name="T4" fmla="*/ 457 w 550"/>
                  <a:gd name="T5" fmla="*/ 67 h 621"/>
                  <a:gd name="T6" fmla="*/ 461 w 550"/>
                  <a:gd name="T7" fmla="*/ 49 h 621"/>
                  <a:gd name="T8" fmla="*/ 461 w 550"/>
                  <a:gd name="T9" fmla="*/ 48 h 621"/>
                  <a:gd name="T10" fmla="*/ 468 w 550"/>
                  <a:gd name="T11" fmla="*/ 29 h 621"/>
                  <a:gd name="T12" fmla="*/ 438 w 550"/>
                  <a:gd name="T13" fmla="*/ 0 h 621"/>
                  <a:gd name="T14" fmla="*/ 408 w 550"/>
                  <a:gd name="T15" fmla="*/ 29 h 621"/>
                  <a:gd name="T16" fmla="*/ 415 w 550"/>
                  <a:gd name="T17" fmla="*/ 49 h 621"/>
                  <a:gd name="T18" fmla="*/ 419 w 550"/>
                  <a:gd name="T19" fmla="*/ 67 h 621"/>
                  <a:gd name="T20" fmla="*/ 416 w 550"/>
                  <a:gd name="T21" fmla="*/ 70 h 621"/>
                  <a:gd name="T22" fmla="*/ 409 w 550"/>
                  <a:gd name="T23" fmla="*/ 70 h 621"/>
                  <a:gd name="T24" fmla="*/ 328 w 550"/>
                  <a:gd name="T25" fmla="*/ 70 h 621"/>
                  <a:gd name="T26" fmla="*/ 0 w 550"/>
                  <a:gd name="T27" fmla="*/ 398 h 621"/>
                  <a:gd name="T28" fmla="*/ 0 w 550"/>
                  <a:gd name="T29" fmla="*/ 479 h 621"/>
                  <a:gd name="T30" fmla="*/ 0 w 550"/>
                  <a:gd name="T31" fmla="*/ 486 h 621"/>
                  <a:gd name="T32" fmla="*/ 3 w 550"/>
                  <a:gd name="T33" fmla="*/ 489 h 621"/>
                  <a:gd name="T34" fmla="*/ 21 w 550"/>
                  <a:gd name="T35" fmla="*/ 485 h 621"/>
                  <a:gd name="T36" fmla="*/ 41 w 550"/>
                  <a:gd name="T37" fmla="*/ 478 h 621"/>
                  <a:gd name="T38" fmla="*/ 70 w 550"/>
                  <a:gd name="T39" fmla="*/ 508 h 621"/>
                  <a:gd name="T40" fmla="*/ 41 w 550"/>
                  <a:gd name="T41" fmla="*/ 538 h 621"/>
                  <a:gd name="T42" fmla="*/ 21 w 550"/>
                  <a:gd name="T43" fmla="*/ 531 h 621"/>
                  <a:gd name="T44" fmla="*/ 21 w 550"/>
                  <a:gd name="T45" fmla="*/ 531 h 621"/>
                  <a:gd name="T46" fmla="*/ 3 w 550"/>
                  <a:gd name="T47" fmla="*/ 527 h 621"/>
                  <a:gd name="T48" fmla="*/ 0 w 550"/>
                  <a:gd name="T49" fmla="*/ 530 h 621"/>
                  <a:gd name="T50" fmla="*/ 0 w 550"/>
                  <a:gd name="T51" fmla="*/ 540 h 621"/>
                  <a:gd name="T52" fmla="*/ 0 w 550"/>
                  <a:gd name="T53" fmla="*/ 621 h 621"/>
                  <a:gd name="T54" fmla="*/ 550 w 550"/>
                  <a:gd name="T55" fmla="*/ 70 h 621"/>
                  <a:gd name="T56" fmla="*/ 470 w 550"/>
                  <a:gd name="T57" fmla="*/ 7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50" h="621">
                    <a:moveTo>
                      <a:pt x="470" y="70"/>
                    </a:moveTo>
                    <a:cubicBezTo>
                      <a:pt x="460" y="70"/>
                      <a:pt x="460" y="70"/>
                      <a:pt x="460" y="70"/>
                    </a:cubicBezTo>
                    <a:cubicBezTo>
                      <a:pt x="459" y="69"/>
                      <a:pt x="458" y="68"/>
                      <a:pt x="457" y="67"/>
                    </a:cubicBezTo>
                    <a:cubicBezTo>
                      <a:pt x="454" y="60"/>
                      <a:pt x="456" y="53"/>
                      <a:pt x="461" y="49"/>
                    </a:cubicBezTo>
                    <a:cubicBezTo>
                      <a:pt x="461" y="48"/>
                      <a:pt x="461" y="48"/>
                      <a:pt x="461" y="48"/>
                    </a:cubicBezTo>
                    <a:cubicBezTo>
                      <a:pt x="465" y="43"/>
                      <a:pt x="468" y="37"/>
                      <a:pt x="468" y="29"/>
                    </a:cubicBezTo>
                    <a:cubicBezTo>
                      <a:pt x="468" y="13"/>
                      <a:pt x="455" y="0"/>
                      <a:pt x="438" y="0"/>
                    </a:cubicBezTo>
                    <a:cubicBezTo>
                      <a:pt x="421" y="0"/>
                      <a:pt x="408" y="13"/>
                      <a:pt x="408" y="29"/>
                    </a:cubicBezTo>
                    <a:cubicBezTo>
                      <a:pt x="408" y="37"/>
                      <a:pt x="410" y="43"/>
                      <a:pt x="415" y="49"/>
                    </a:cubicBezTo>
                    <a:cubicBezTo>
                      <a:pt x="420" y="53"/>
                      <a:pt x="421" y="60"/>
                      <a:pt x="419" y="67"/>
                    </a:cubicBezTo>
                    <a:cubicBezTo>
                      <a:pt x="418" y="68"/>
                      <a:pt x="417" y="69"/>
                      <a:pt x="416" y="70"/>
                    </a:cubicBezTo>
                    <a:cubicBezTo>
                      <a:pt x="409" y="70"/>
                      <a:pt x="409" y="70"/>
                      <a:pt x="409" y="70"/>
                    </a:cubicBezTo>
                    <a:cubicBezTo>
                      <a:pt x="328" y="70"/>
                      <a:pt x="328" y="70"/>
                      <a:pt x="328" y="70"/>
                    </a:cubicBezTo>
                    <a:cubicBezTo>
                      <a:pt x="328" y="251"/>
                      <a:pt x="181" y="398"/>
                      <a:pt x="0" y="398"/>
                    </a:cubicBezTo>
                    <a:cubicBezTo>
                      <a:pt x="0" y="479"/>
                      <a:pt x="0" y="479"/>
                      <a:pt x="0" y="479"/>
                    </a:cubicBezTo>
                    <a:cubicBezTo>
                      <a:pt x="0" y="486"/>
                      <a:pt x="0" y="486"/>
                      <a:pt x="0" y="486"/>
                    </a:cubicBezTo>
                    <a:cubicBezTo>
                      <a:pt x="1" y="487"/>
                      <a:pt x="2" y="488"/>
                      <a:pt x="3" y="489"/>
                    </a:cubicBezTo>
                    <a:cubicBezTo>
                      <a:pt x="10" y="491"/>
                      <a:pt x="17" y="490"/>
                      <a:pt x="21" y="485"/>
                    </a:cubicBezTo>
                    <a:cubicBezTo>
                      <a:pt x="26" y="480"/>
                      <a:pt x="33" y="478"/>
                      <a:pt x="41" y="478"/>
                    </a:cubicBezTo>
                    <a:cubicBezTo>
                      <a:pt x="57" y="478"/>
                      <a:pt x="70" y="491"/>
                      <a:pt x="70" y="508"/>
                    </a:cubicBezTo>
                    <a:cubicBezTo>
                      <a:pt x="70" y="525"/>
                      <a:pt x="57" y="538"/>
                      <a:pt x="41" y="538"/>
                    </a:cubicBezTo>
                    <a:cubicBezTo>
                      <a:pt x="33" y="538"/>
                      <a:pt x="27" y="535"/>
                      <a:pt x="21" y="531"/>
                    </a:cubicBezTo>
                    <a:cubicBezTo>
                      <a:pt x="21" y="531"/>
                      <a:pt x="21" y="531"/>
                      <a:pt x="21" y="531"/>
                    </a:cubicBezTo>
                    <a:cubicBezTo>
                      <a:pt x="17" y="526"/>
                      <a:pt x="10" y="524"/>
                      <a:pt x="3" y="527"/>
                    </a:cubicBezTo>
                    <a:cubicBezTo>
                      <a:pt x="2" y="528"/>
                      <a:pt x="1" y="529"/>
                      <a:pt x="0" y="530"/>
                    </a:cubicBezTo>
                    <a:cubicBezTo>
                      <a:pt x="0" y="540"/>
                      <a:pt x="0" y="540"/>
                      <a:pt x="0" y="540"/>
                    </a:cubicBezTo>
                    <a:cubicBezTo>
                      <a:pt x="0" y="621"/>
                      <a:pt x="0" y="621"/>
                      <a:pt x="0" y="621"/>
                    </a:cubicBezTo>
                    <a:cubicBezTo>
                      <a:pt x="304" y="621"/>
                      <a:pt x="550" y="374"/>
                      <a:pt x="550" y="70"/>
                    </a:cubicBezTo>
                    <a:lnTo>
                      <a:pt x="470" y="70"/>
                    </a:ln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200"/>
              </a:p>
            </p:txBody>
          </p:sp>
        </p:grpSp>
        <p:sp>
          <p:nvSpPr>
            <p:cNvPr id="22" name="Freihandform 24">
              <a:extLst>
                <a:ext uri="{FF2B5EF4-FFF2-40B4-BE49-F238E27FC236}">
                  <a16:creationId xmlns:a16="http://schemas.microsoft.com/office/drawing/2014/main" id="{0CF88EEF-7F8E-484C-8F63-179695CF731C}"/>
                </a:ext>
              </a:extLst>
            </p:cNvPr>
            <p:cNvSpPr/>
            <p:nvPr/>
          </p:nvSpPr>
          <p:spPr bwMode="gray">
            <a:xfrm>
              <a:off x="3051442" y="2202281"/>
              <a:ext cx="402677" cy="569185"/>
            </a:xfrm>
            <a:custGeom>
              <a:avLst/>
              <a:gdLst>
                <a:gd name="connsiteX0" fmla="*/ 647700 w 647700"/>
                <a:gd name="connsiteY0" fmla="*/ 596900 h 596900"/>
                <a:gd name="connsiteX1" fmla="*/ 647700 w 647700"/>
                <a:gd name="connsiteY1" fmla="*/ 0 h 596900"/>
                <a:gd name="connsiteX2" fmla="*/ 0 w 647700"/>
                <a:gd name="connsiteY2" fmla="*/ 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596900">
                  <a:moveTo>
                    <a:pt x="647700" y="596900"/>
                  </a:moveTo>
                  <a:lnTo>
                    <a:pt x="647700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23" name="Freihandform 25">
              <a:extLst>
                <a:ext uri="{FF2B5EF4-FFF2-40B4-BE49-F238E27FC236}">
                  <a16:creationId xmlns:a16="http://schemas.microsoft.com/office/drawing/2014/main" id="{3EC9F80A-8061-4C8F-BADA-FCB4339347D5}"/>
                </a:ext>
              </a:extLst>
            </p:cNvPr>
            <p:cNvSpPr/>
            <p:nvPr/>
          </p:nvSpPr>
          <p:spPr bwMode="gray">
            <a:xfrm flipH="1">
              <a:off x="5729066" y="2202281"/>
              <a:ext cx="374478" cy="569185"/>
            </a:xfrm>
            <a:custGeom>
              <a:avLst/>
              <a:gdLst>
                <a:gd name="connsiteX0" fmla="*/ 647700 w 647700"/>
                <a:gd name="connsiteY0" fmla="*/ 596900 h 596900"/>
                <a:gd name="connsiteX1" fmla="*/ 647700 w 647700"/>
                <a:gd name="connsiteY1" fmla="*/ 0 h 596900"/>
                <a:gd name="connsiteX2" fmla="*/ 0 w 647700"/>
                <a:gd name="connsiteY2" fmla="*/ 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596900">
                  <a:moveTo>
                    <a:pt x="647700" y="596900"/>
                  </a:moveTo>
                  <a:lnTo>
                    <a:pt x="647700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25" name="Freihandform 27">
              <a:extLst>
                <a:ext uri="{FF2B5EF4-FFF2-40B4-BE49-F238E27FC236}">
                  <a16:creationId xmlns:a16="http://schemas.microsoft.com/office/drawing/2014/main" id="{A4AA53C3-84BE-4C78-B78C-CD80C1AD4C96}"/>
                </a:ext>
              </a:extLst>
            </p:cNvPr>
            <p:cNvSpPr/>
            <p:nvPr/>
          </p:nvSpPr>
          <p:spPr bwMode="gray">
            <a:xfrm flipH="1" flipV="1">
              <a:off x="5715233" y="5174062"/>
              <a:ext cx="388311" cy="569185"/>
            </a:xfrm>
            <a:custGeom>
              <a:avLst/>
              <a:gdLst>
                <a:gd name="connsiteX0" fmla="*/ 647700 w 647700"/>
                <a:gd name="connsiteY0" fmla="*/ 596900 h 596900"/>
                <a:gd name="connsiteX1" fmla="*/ 647700 w 647700"/>
                <a:gd name="connsiteY1" fmla="*/ 0 h 596900"/>
                <a:gd name="connsiteX2" fmla="*/ 0 w 647700"/>
                <a:gd name="connsiteY2" fmla="*/ 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596900">
                  <a:moveTo>
                    <a:pt x="647700" y="596900"/>
                  </a:moveTo>
                  <a:lnTo>
                    <a:pt x="647700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27" name="Freihandform 29">
              <a:extLst>
                <a:ext uri="{FF2B5EF4-FFF2-40B4-BE49-F238E27FC236}">
                  <a16:creationId xmlns:a16="http://schemas.microsoft.com/office/drawing/2014/main" id="{D4AA9560-C0EA-475E-B040-915059A03FF6}"/>
                </a:ext>
              </a:extLst>
            </p:cNvPr>
            <p:cNvSpPr/>
            <p:nvPr/>
          </p:nvSpPr>
          <p:spPr bwMode="gray">
            <a:xfrm flipV="1">
              <a:off x="3051442" y="5176744"/>
              <a:ext cx="402677" cy="569185"/>
            </a:xfrm>
            <a:custGeom>
              <a:avLst/>
              <a:gdLst>
                <a:gd name="connsiteX0" fmla="*/ 647700 w 647700"/>
                <a:gd name="connsiteY0" fmla="*/ 596900 h 596900"/>
                <a:gd name="connsiteX1" fmla="*/ 647700 w 647700"/>
                <a:gd name="connsiteY1" fmla="*/ 0 h 596900"/>
                <a:gd name="connsiteX2" fmla="*/ 0 w 647700"/>
                <a:gd name="connsiteY2" fmla="*/ 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596900">
                  <a:moveTo>
                    <a:pt x="647700" y="596900"/>
                  </a:moveTo>
                  <a:lnTo>
                    <a:pt x="647700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</p:grp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9772438-4DAB-4A4C-8C78-AAEAC351DA65}"/>
              </a:ext>
            </a:extLst>
          </p:cNvPr>
          <p:cNvCxnSpPr>
            <a:cxnSpLocks/>
          </p:cNvCxnSpPr>
          <p:nvPr/>
        </p:nvCxnSpPr>
        <p:spPr>
          <a:xfrm>
            <a:off x="3179762" y="3004072"/>
            <a:ext cx="0" cy="226825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1DB09124-845F-4F3F-BCA2-58E9850BF62C}"/>
              </a:ext>
            </a:extLst>
          </p:cNvPr>
          <p:cNvCxnSpPr>
            <a:cxnSpLocks/>
          </p:cNvCxnSpPr>
          <p:nvPr/>
        </p:nvCxnSpPr>
        <p:spPr>
          <a:xfrm rot="16200000">
            <a:off x="3179762" y="3004072"/>
            <a:ext cx="0" cy="226825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hteck 34">
            <a:extLst>
              <a:ext uri="{FF2B5EF4-FFF2-40B4-BE49-F238E27FC236}">
                <a16:creationId xmlns:a16="http://schemas.microsoft.com/office/drawing/2014/main" id="{5AFC7C82-58AF-4FDC-BE8E-C29E2B510BDD}"/>
              </a:ext>
            </a:extLst>
          </p:cNvPr>
          <p:cNvSpPr/>
          <p:nvPr/>
        </p:nvSpPr>
        <p:spPr>
          <a:xfrm>
            <a:off x="2999762" y="3958198"/>
            <a:ext cx="360000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D7EE3134-185F-4585-8902-4DE989457C9D}"/>
              </a:ext>
            </a:extLst>
          </p:cNvPr>
          <p:cNvSpPr/>
          <p:nvPr/>
        </p:nvSpPr>
        <p:spPr bwMode="gray">
          <a:xfrm flipH="1">
            <a:off x="6383337" y="1982440"/>
            <a:ext cx="1116000" cy="7785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lvl="1" algn="r">
              <a:buClr>
                <a:srgbClr val="000000"/>
              </a:buClr>
              <a:defRPr/>
            </a:pPr>
            <a:r>
              <a:rPr lang="de-DE" sz="1600" dirty="0"/>
              <a:t>Text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9DFF999-CEC8-4684-B778-C15066967B9D}"/>
              </a:ext>
            </a:extLst>
          </p:cNvPr>
          <p:cNvSpPr/>
          <p:nvPr/>
        </p:nvSpPr>
        <p:spPr bwMode="gray">
          <a:xfrm flipH="1">
            <a:off x="6383337" y="5523853"/>
            <a:ext cx="1116000" cy="7785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lvl="1" algn="r">
              <a:buClr>
                <a:srgbClr val="000000"/>
              </a:buClr>
              <a:defRPr/>
            </a:pPr>
            <a:r>
              <a:rPr lang="de-DE" sz="1600" dirty="0"/>
              <a:t>Text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BF3215B-F5DE-4BB9-A182-170053740CF6}"/>
              </a:ext>
            </a:extLst>
          </p:cNvPr>
          <p:cNvSpPr/>
          <p:nvPr/>
        </p:nvSpPr>
        <p:spPr bwMode="gray">
          <a:xfrm flipH="1">
            <a:off x="10683839" y="1982440"/>
            <a:ext cx="1100173" cy="7785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lvl="1">
              <a:buClr>
                <a:schemeClr val="tx1"/>
              </a:buClr>
              <a:defRPr/>
            </a:pPr>
            <a:r>
              <a:rPr lang="de-DE" sz="1600" dirty="0"/>
              <a:t>Text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3A9040C9-340D-467A-805E-3CF1FEB52E4C}"/>
              </a:ext>
            </a:extLst>
          </p:cNvPr>
          <p:cNvSpPr/>
          <p:nvPr/>
        </p:nvSpPr>
        <p:spPr bwMode="gray">
          <a:xfrm flipH="1">
            <a:off x="10683839" y="5523853"/>
            <a:ext cx="1100173" cy="7785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lvl="1">
              <a:buClr>
                <a:srgbClr val="000000"/>
              </a:buClr>
              <a:defRPr/>
            </a:pPr>
            <a:r>
              <a:rPr lang="de-DE" sz="1600" dirty="0"/>
              <a:t>Tex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9D7497E-DCD6-4F4C-9A6D-18FFF2943B69}"/>
              </a:ext>
            </a:extLst>
          </p:cNvPr>
          <p:cNvSpPr/>
          <p:nvPr/>
        </p:nvSpPr>
        <p:spPr>
          <a:xfrm>
            <a:off x="7392144" y="2672916"/>
            <a:ext cx="1245829" cy="1114690"/>
          </a:xfrm>
          <a:prstGeom prst="rect">
            <a:avLst/>
          </a:prstGeom>
          <a:noFill/>
          <a:ln w="57150" cap="flat">
            <a:noFill/>
            <a:miter lim="400000"/>
          </a:ln>
          <a:effectLst>
            <a:glow rad="228600">
              <a:schemeClr val="bg1">
                <a:alpha val="71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9375" tIns="79375" rIns="79375" bIns="79375" numCol="1" spcCol="38100" rtlCol="0" anchor="b" anchorCtr="0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4800" u="none" strike="noStrike" cap="none" spc="0" normalizeH="0" baseline="0" dirty="0">
                <a:ln>
                  <a:noFill/>
                </a:ln>
                <a:effectLst/>
                <a:uFillTx/>
                <a:ea typeface="+mn-ea"/>
                <a:cs typeface="+mn-cs"/>
                <a:sym typeface="Helvetica Light"/>
              </a:rPr>
              <a:t>1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BED9B19-7B64-4797-A376-D256CFED56DB}"/>
              </a:ext>
            </a:extLst>
          </p:cNvPr>
          <p:cNvSpPr/>
          <p:nvPr/>
        </p:nvSpPr>
        <p:spPr>
          <a:xfrm>
            <a:off x="9516380" y="2672916"/>
            <a:ext cx="1245829" cy="1114690"/>
          </a:xfrm>
          <a:prstGeom prst="rect">
            <a:avLst/>
          </a:prstGeom>
          <a:noFill/>
          <a:ln w="57150" cap="flat">
            <a:noFill/>
            <a:miter lim="400000"/>
          </a:ln>
          <a:effectLst>
            <a:glow rad="228600">
              <a:schemeClr val="bg1">
                <a:alpha val="71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9375" tIns="79375" rIns="79375" bIns="79375" numCol="1" spcCol="38100" rtlCol="0" anchor="b" anchorCtr="0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4800" u="none" strike="noStrike" cap="none" spc="0" normalizeH="0" baseline="0" dirty="0">
                <a:ln>
                  <a:noFill/>
                </a:ln>
                <a:effectLst/>
                <a:uFillTx/>
                <a:ea typeface="+mn-ea"/>
                <a:cs typeface="+mn-cs"/>
                <a:sym typeface="Helvetica Light"/>
              </a:rPr>
              <a:t>2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0721183A-071F-48A9-9D5A-71188868A477}"/>
              </a:ext>
            </a:extLst>
          </p:cNvPr>
          <p:cNvSpPr/>
          <p:nvPr/>
        </p:nvSpPr>
        <p:spPr>
          <a:xfrm>
            <a:off x="7428148" y="4401108"/>
            <a:ext cx="1245829" cy="1114690"/>
          </a:xfrm>
          <a:prstGeom prst="rect">
            <a:avLst/>
          </a:prstGeom>
          <a:noFill/>
          <a:ln w="57150" cap="flat">
            <a:noFill/>
            <a:miter lim="400000"/>
          </a:ln>
          <a:effectLst>
            <a:glow rad="228600">
              <a:schemeClr val="bg1">
                <a:alpha val="71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9375" tIns="79375" rIns="79375" bIns="79375" numCol="1" spcCol="38100" rtlCol="0" anchor="t" anchorCtr="0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4800" u="none" strike="noStrike" cap="none" spc="0" normalizeH="0" baseline="0" dirty="0">
                <a:ln>
                  <a:noFill/>
                </a:ln>
                <a:effectLst/>
                <a:uFillTx/>
                <a:ea typeface="+mn-ea"/>
                <a:cs typeface="+mn-cs"/>
                <a:sym typeface="Helvetica Light"/>
              </a:rPr>
              <a:t>4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60264C55-6767-4424-B6C6-4826A6287507}"/>
              </a:ext>
            </a:extLst>
          </p:cNvPr>
          <p:cNvSpPr/>
          <p:nvPr/>
        </p:nvSpPr>
        <p:spPr>
          <a:xfrm>
            <a:off x="9516380" y="4401108"/>
            <a:ext cx="1245829" cy="1114690"/>
          </a:xfrm>
          <a:prstGeom prst="rect">
            <a:avLst/>
          </a:prstGeom>
          <a:noFill/>
          <a:ln w="57150" cap="flat">
            <a:noFill/>
            <a:miter lim="400000"/>
          </a:ln>
          <a:effectLst>
            <a:glow rad="228600">
              <a:schemeClr val="bg1">
                <a:alpha val="71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9375" tIns="79375" rIns="79375" bIns="79375" numCol="1" spcCol="38100" rtlCol="0" anchor="t" anchorCtr="0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4800" u="none" strike="noStrike" cap="none" spc="0" normalizeH="0" baseline="0" dirty="0">
                <a:ln>
                  <a:noFill/>
                </a:ln>
                <a:effectLst/>
                <a:uFillTx/>
                <a:ea typeface="+mn-ea"/>
                <a:cs typeface="+mn-cs"/>
                <a:sym typeface="Helvetica Ligh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3649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EDDCACE-7A88-D749-B3B6-3E0D5C29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4E72B-D406-5F4E-8787-8F1BF6A15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114E7-D3C8-1648-B72D-96C18876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6</a:t>
            </a:fld>
            <a:endParaRPr lang="en-GB" dirty="0"/>
          </a:p>
        </p:txBody>
      </p:sp>
      <p:graphicFrame>
        <p:nvGraphicFramePr>
          <p:cNvPr id="12" name="Table 85">
            <a:extLst>
              <a:ext uri="{FF2B5EF4-FFF2-40B4-BE49-F238E27FC236}">
                <a16:creationId xmlns:a16="http://schemas.microsoft.com/office/drawing/2014/main" id="{30A27901-B0D8-4911-B224-99D9FDECBDF3}"/>
              </a:ext>
            </a:extLst>
          </p:cNvPr>
          <p:cNvGraphicFramePr>
            <a:graphicFrameLocks noGrp="1"/>
          </p:cNvGraphicFramePr>
          <p:nvPr/>
        </p:nvGraphicFramePr>
        <p:xfrm>
          <a:off x="407368" y="2312876"/>
          <a:ext cx="11299728" cy="3407741"/>
        </p:xfrm>
        <a:graphic>
          <a:graphicData uri="http://schemas.openxmlformats.org/drawingml/2006/table">
            <a:tbl>
              <a:tblPr firstRow="1" bandRow="1"/>
              <a:tblGrid>
                <a:gridCol w="9416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74662"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3079"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Box 88">
            <a:extLst>
              <a:ext uri="{FF2B5EF4-FFF2-40B4-BE49-F238E27FC236}">
                <a16:creationId xmlns:a16="http://schemas.microsoft.com/office/drawing/2014/main" id="{7281E257-E1D0-46DF-8D9A-46C144FC370D}"/>
              </a:ext>
            </a:extLst>
          </p:cNvPr>
          <p:cNvSpPr txBox="1"/>
          <p:nvPr/>
        </p:nvSpPr>
        <p:spPr>
          <a:xfrm>
            <a:off x="774440" y="5992503"/>
            <a:ext cx="1505136" cy="187424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 anchorCtr="0">
            <a:noAutofit/>
          </a:bodyPr>
          <a:lstStyle/>
          <a:p>
            <a:pPr defTabSz="781835">
              <a:lnSpc>
                <a:spcPct val="110000"/>
              </a:lnSpc>
              <a:defRPr/>
            </a:pPr>
            <a:r>
              <a:rPr lang="en-US" sz="1200" kern="0" dirty="0"/>
              <a:t>Lorem Ipsum</a:t>
            </a:r>
          </a:p>
        </p:txBody>
      </p:sp>
      <p:sp>
        <p:nvSpPr>
          <p:cNvPr id="15" name="TextBox 89">
            <a:extLst>
              <a:ext uri="{FF2B5EF4-FFF2-40B4-BE49-F238E27FC236}">
                <a16:creationId xmlns:a16="http://schemas.microsoft.com/office/drawing/2014/main" id="{08EB278F-3A14-4F99-B20F-699FCD1E8B09}"/>
              </a:ext>
            </a:extLst>
          </p:cNvPr>
          <p:cNvSpPr txBox="1"/>
          <p:nvPr/>
        </p:nvSpPr>
        <p:spPr>
          <a:xfrm>
            <a:off x="2445472" y="5992503"/>
            <a:ext cx="1144410" cy="186141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 anchorCtr="0">
            <a:noAutofit/>
          </a:bodyPr>
          <a:lstStyle/>
          <a:p>
            <a:pPr defTabSz="781835">
              <a:lnSpc>
                <a:spcPct val="110000"/>
              </a:lnSpc>
              <a:defRPr/>
            </a:pPr>
            <a:r>
              <a:rPr lang="en-US" sz="1200" kern="0" dirty="0"/>
              <a:t>Lorem Ipsum</a:t>
            </a:r>
          </a:p>
        </p:txBody>
      </p:sp>
      <p:sp>
        <p:nvSpPr>
          <p:cNvPr id="16" name="TextBox 90">
            <a:extLst>
              <a:ext uri="{FF2B5EF4-FFF2-40B4-BE49-F238E27FC236}">
                <a16:creationId xmlns:a16="http://schemas.microsoft.com/office/drawing/2014/main" id="{6AB28508-A52D-4535-837F-8999C174ED1D}"/>
              </a:ext>
            </a:extLst>
          </p:cNvPr>
          <p:cNvSpPr txBox="1"/>
          <p:nvPr/>
        </p:nvSpPr>
        <p:spPr>
          <a:xfrm>
            <a:off x="4318074" y="5992503"/>
            <a:ext cx="1120559" cy="187424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 anchorCtr="0">
            <a:noAutofit/>
          </a:bodyPr>
          <a:lstStyle/>
          <a:p>
            <a:pPr defTabSz="781835">
              <a:lnSpc>
                <a:spcPct val="110000"/>
              </a:lnSpc>
              <a:defRPr/>
            </a:pPr>
            <a:r>
              <a:rPr lang="en-US" sz="1200" kern="0" dirty="0"/>
              <a:t>Lorem Ipsum</a:t>
            </a:r>
          </a:p>
        </p:txBody>
      </p:sp>
      <p:sp>
        <p:nvSpPr>
          <p:cNvPr id="21" name="Pentagon 95">
            <a:extLst>
              <a:ext uri="{FF2B5EF4-FFF2-40B4-BE49-F238E27FC236}">
                <a16:creationId xmlns:a16="http://schemas.microsoft.com/office/drawing/2014/main" id="{E432E65C-02AD-4073-BE18-79594DF4A2F0}"/>
              </a:ext>
            </a:extLst>
          </p:cNvPr>
          <p:cNvSpPr/>
          <p:nvPr/>
        </p:nvSpPr>
        <p:spPr>
          <a:xfrm>
            <a:off x="7839435" y="4571528"/>
            <a:ext cx="3944577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22" name="Pentagon 98">
            <a:extLst>
              <a:ext uri="{FF2B5EF4-FFF2-40B4-BE49-F238E27FC236}">
                <a16:creationId xmlns:a16="http://schemas.microsoft.com/office/drawing/2014/main" id="{C7C11DEF-5D93-4659-9A5B-C3AF3D9429B6}"/>
              </a:ext>
            </a:extLst>
          </p:cNvPr>
          <p:cNvSpPr/>
          <p:nvPr/>
        </p:nvSpPr>
        <p:spPr>
          <a:xfrm>
            <a:off x="9690269" y="5183261"/>
            <a:ext cx="2093744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23" name="Pentagon 102">
            <a:extLst>
              <a:ext uri="{FF2B5EF4-FFF2-40B4-BE49-F238E27FC236}">
                <a16:creationId xmlns:a16="http://schemas.microsoft.com/office/drawing/2014/main" id="{AAF8F061-E517-4EE0-A9FB-5F2718D483E2}"/>
              </a:ext>
            </a:extLst>
          </p:cNvPr>
          <p:cNvSpPr/>
          <p:nvPr/>
        </p:nvSpPr>
        <p:spPr>
          <a:xfrm>
            <a:off x="7839435" y="3954081"/>
            <a:ext cx="3944577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24" name="Pentagon 105">
            <a:extLst>
              <a:ext uri="{FF2B5EF4-FFF2-40B4-BE49-F238E27FC236}">
                <a16:creationId xmlns:a16="http://schemas.microsoft.com/office/drawing/2014/main" id="{B1574111-3D55-44FA-B58F-D561B90F22BE}"/>
              </a:ext>
            </a:extLst>
          </p:cNvPr>
          <p:cNvSpPr/>
          <p:nvPr/>
        </p:nvSpPr>
        <p:spPr>
          <a:xfrm>
            <a:off x="1335267" y="3340461"/>
            <a:ext cx="8292802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25" name="Pentagon 110">
            <a:extLst>
              <a:ext uri="{FF2B5EF4-FFF2-40B4-BE49-F238E27FC236}">
                <a16:creationId xmlns:a16="http://schemas.microsoft.com/office/drawing/2014/main" id="{65C9EC73-B493-4EDD-BFFA-6A65173F4EE3}"/>
              </a:ext>
            </a:extLst>
          </p:cNvPr>
          <p:cNvSpPr/>
          <p:nvPr/>
        </p:nvSpPr>
        <p:spPr>
          <a:xfrm>
            <a:off x="407368" y="2719733"/>
            <a:ext cx="3701668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A53EE4FA-AE0E-4847-85A4-D97DE564A431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3959225" cy="19085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Wochen</a:t>
            </a:r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D544E9B8-A5BE-4562-9050-CFFC37B2B2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5899114"/>
            <a:ext cx="374202" cy="374202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6512A831-2A67-45F6-B0FC-B024729FD6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63552" y="5899114"/>
            <a:ext cx="374202" cy="374202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A92EE870-0D76-472F-A5DA-410A1D94E0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35760" y="5899114"/>
            <a:ext cx="374202" cy="374202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31D8D0D7-628D-4783-964E-C6756AC708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59748" y="2719733"/>
            <a:ext cx="468000" cy="4680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221957C1-F4E5-4DB4-A6CF-0A157D485D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32304" y="3340461"/>
            <a:ext cx="468000" cy="468000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6CBBFCA3-2722-4A45-B51D-93A55150D7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92296" y="3340461"/>
            <a:ext cx="468000" cy="468000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33D9A396-9FC7-490C-A719-E6E197A84B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8600" y="3954081"/>
            <a:ext cx="468000" cy="468000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BDF02F9C-E269-47DE-BB3A-8F67BF7E66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28600" y="4571528"/>
            <a:ext cx="468000" cy="468000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C5E6B330-8B43-4163-8C43-C40D0F74BE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28600" y="5183261"/>
            <a:ext cx="4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97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5B7839C0-F3A6-CC44-8B1E-099D08406E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4507997"/>
              </p:ext>
            </p:extLst>
          </p:nvPr>
        </p:nvGraphicFramePr>
        <p:xfrm>
          <a:off x="407989" y="1844675"/>
          <a:ext cx="11376019" cy="3438240"/>
        </p:xfrm>
        <a:graphic>
          <a:graphicData uri="http://schemas.openxmlformats.org/drawingml/2006/table">
            <a:tbl>
              <a:tblPr firstRow="1" bandRow="1"/>
              <a:tblGrid>
                <a:gridCol w="2251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147458756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863853577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747696265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582376315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622128592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925019773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4213393771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416453799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539901480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680722425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3365019808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302577619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537545176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333667197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846989527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4191234690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400905671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434133205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4238780179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4171693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Januar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Februar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März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April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Mai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Juni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Aktivitäten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7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8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9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7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8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9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0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ktivität 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2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3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4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EDDCACE-7A88-D749-B3B6-3E0D5C29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4E72B-D406-5F4E-8787-8F1BF6A15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114E7-D3C8-1648-B72D-96C18876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5510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E8D5444F-49D9-B547-A34E-B2CABB708E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6714133"/>
              </p:ext>
            </p:extLst>
          </p:nvPr>
        </p:nvGraphicFramePr>
        <p:xfrm>
          <a:off x="407987" y="1844675"/>
          <a:ext cx="11376027" cy="3438240"/>
        </p:xfrm>
        <a:graphic>
          <a:graphicData uri="http://schemas.openxmlformats.org/drawingml/2006/table">
            <a:tbl>
              <a:tblPr firstRow="1" bandRow="1"/>
              <a:tblGrid>
                <a:gridCol w="37590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j-lt"/>
                        </a:rPr>
                        <a:t>20xx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>
                          <a:solidFill>
                            <a:schemeClr val="tx1"/>
                          </a:solidFill>
                          <a:latin typeface="+mj-lt"/>
                        </a:rPr>
                        <a:t>Aktivitäten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ktivität 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2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3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4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EDDCACE-7A88-D749-B3B6-3E0D5C29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4E72B-D406-5F4E-8787-8F1BF6A15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114E7-D3C8-1648-B72D-96C18876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1160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78406AFD-72E4-1A48-8ED5-AB9A2A2F6E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884854"/>
              </p:ext>
            </p:extLst>
          </p:nvPr>
        </p:nvGraphicFramePr>
        <p:xfrm>
          <a:off x="407986" y="1844675"/>
          <a:ext cx="11376027" cy="3438240"/>
        </p:xfrm>
        <a:graphic>
          <a:graphicData uri="http://schemas.openxmlformats.org/drawingml/2006/table">
            <a:tbl>
              <a:tblPr firstRow="1" bandRow="1"/>
              <a:tblGrid>
                <a:gridCol w="37562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j-lt"/>
                        </a:rPr>
                        <a:t>20xx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j-lt"/>
                        </a:rPr>
                        <a:t>20xx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>
                          <a:solidFill>
                            <a:schemeClr val="tx1"/>
                          </a:solidFill>
                          <a:latin typeface="+mj-lt"/>
                        </a:rPr>
                        <a:t>Aktivitäten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ktivität 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2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3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4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EDDCACE-7A88-D749-B3B6-3E0D5C29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4E72B-D406-5F4E-8787-8F1BF6A15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114E7-D3C8-1648-B72D-96C18876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074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28D7D7D-B7F8-4EEC-B6F9-A64BBF590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</a:t>
            </a:r>
            <a:br>
              <a:rPr lang="de-DE" dirty="0"/>
            </a:br>
            <a:r>
              <a:rPr lang="de-DE" dirty="0"/>
              <a:t>Kapitel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C059D26-2151-49DA-85D5-324FCF97E8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16335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rganigramm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506792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E201E0A2-CC2D-48A2-9EDB-EBD653EB3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rganigramm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91</a:t>
            </a:fld>
            <a:endParaRPr lang="de-DE" dirty="0"/>
          </a:p>
        </p:txBody>
      </p:sp>
      <p:cxnSp>
        <p:nvCxnSpPr>
          <p:cNvPr id="59" name="Gewinkelte Verbindung 30">
            <a:extLst>
              <a:ext uri="{FF2B5EF4-FFF2-40B4-BE49-F238E27FC236}">
                <a16:creationId xmlns:a16="http://schemas.microsoft.com/office/drawing/2014/main" id="{F779D167-F740-47F8-8C70-7811A48B13D7}"/>
              </a:ext>
            </a:extLst>
          </p:cNvPr>
          <p:cNvCxnSpPr>
            <a:cxnSpLocks/>
            <a:stCxn id="104" idx="2"/>
            <a:endCxn id="92" idx="0"/>
          </p:cNvCxnSpPr>
          <p:nvPr/>
        </p:nvCxnSpPr>
        <p:spPr bwMode="gray">
          <a:xfrm rot="5400000">
            <a:off x="3754995" y="478763"/>
            <a:ext cx="362808" cy="4312812"/>
          </a:xfrm>
          <a:prstGeom prst="bentConnector3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8E3F83A7-531B-4E3D-AFF8-80FFB9EE7765}"/>
              </a:ext>
            </a:extLst>
          </p:cNvPr>
          <p:cNvSpPr/>
          <p:nvPr/>
        </p:nvSpPr>
        <p:spPr bwMode="gray">
          <a:xfrm>
            <a:off x="516620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62" name="Gewinkelte Verbindung 39">
            <a:extLst>
              <a:ext uri="{FF2B5EF4-FFF2-40B4-BE49-F238E27FC236}">
                <a16:creationId xmlns:a16="http://schemas.microsoft.com/office/drawing/2014/main" id="{36188816-DA9D-4801-A565-D9EFF447EE74}"/>
              </a:ext>
            </a:extLst>
          </p:cNvPr>
          <p:cNvCxnSpPr>
            <a:cxnSpLocks/>
            <a:stCxn id="60" idx="2"/>
            <a:endCxn id="96" idx="1"/>
          </p:cNvCxnSpPr>
          <p:nvPr/>
        </p:nvCxnSpPr>
        <p:spPr bwMode="gray">
          <a:xfrm rot="16200000" flipH="1">
            <a:off x="492106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Gewinkelte Verbindung 52">
            <a:extLst>
              <a:ext uri="{FF2B5EF4-FFF2-40B4-BE49-F238E27FC236}">
                <a16:creationId xmlns:a16="http://schemas.microsoft.com/office/drawing/2014/main" id="{7A7C752D-3BF3-4946-BDAC-8981582C595B}"/>
              </a:ext>
            </a:extLst>
          </p:cNvPr>
          <p:cNvCxnSpPr>
            <a:cxnSpLocks/>
            <a:stCxn id="60" idx="2"/>
            <a:endCxn id="97" idx="1"/>
          </p:cNvCxnSpPr>
          <p:nvPr/>
        </p:nvCxnSpPr>
        <p:spPr bwMode="gray">
          <a:xfrm rot="16200000" flipH="1">
            <a:off x="194146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42604349-DA08-46EF-B58C-F6F858A3E12B}"/>
              </a:ext>
            </a:extLst>
          </p:cNvPr>
          <p:cNvSpPr/>
          <p:nvPr/>
        </p:nvSpPr>
        <p:spPr bwMode="gray">
          <a:xfrm>
            <a:off x="3385422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66" name="Gewinkelte Verbindung 91">
            <a:extLst>
              <a:ext uri="{FF2B5EF4-FFF2-40B4-BE49-F238E27FC236}">
                <a16:creationId xmlns:a16="http://schemas.microsoft.com/office/drawing/2014/main" id="{F5AF2209-9D3C-4E32-A825-5F38C0106371}"/>
              </a:ext>
            </a:extLst>
          </p:cNvPr>
          <p:cNvCxnSpPr>
            <a:cxnSpLocks/>
            <a:stCxn id="64" idx="2"/>
            <a:endCxn id="98" idx="1"/>
          </p:cNvCxnSpPr>
          <p:nvPr/>
        </p:nvCxnSpPr>
        <p:spPr bwMode="gray">
          <a:xfrm rot="16200000" flipH="1">
            <a:off x="3360908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Gewinkelte Verbindung 96">
            <a:extLst>
              <a:ext uri="{FF2B5EF4-FFF2-40B4-BE49-F238E27FC236}">
                <a16:creationId xmlns:a16="http://schemas.microsoft.com/office/drawing/2014/main" id="{5C4D553F-3E0C-4C79-A04D-8BED34B49FAC}"/>
              </a:ext>
            </a:extLst>
          </p:cNvPr>
          <p:cNvCxnSpPr>
            <a:cxnSpLocks/>
            <a:stCxn id="64" idx="2"/>
            <a:endCxn id="99" idx="1"/>
          </p:cNvCxnSpPr>
          <p:nvPr/>
        </p:nvCxnSpPr>
        <p:spPr bwMode="gray">
          <a:xfrm rot="16200000" flipH="1">
            <a:off x="3062948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3" name="Rechteck 82">
            <a:extLst>
              <a:ext uri="{FF2B5EF4-FFF2-40B4-BE49-F238E27FC236}">
                <a16:creationId xmlns:a16="http://schemas.microsoft.com/office/drawing/2014/main" id="{184F2EA1-71A7-4241-A85D-AB98B725FA17}"/>
              </a:ext>
            </a:extLst>
          </p:cNvPr>
          <p:cNvSpPr/>
          <p:nvPr/>
        </p:nvSpPr>
        <p:spPr bwMode="gray">
          <a:xfrm>
            <a:off x="6267028" y="3176629"/>
            <a:ext cx="146355" cy="14400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84" name="Gewinkelte Verbindung 115">
            <a:extLst>
              <a:ext uri="{FF2B5EF4-FFF2-40B4-BE49-F238E27FC236}">
                <a16:creationId xmlns:a16="http://schemas.microsoft.com/office/drawing/2014/main" id="{2FD654C2-0134-41D1-856A-788F624E42B1}"/>
              </a:ext>
            </a:extLst>
          </p:cNvPr>
          <p:cNvCxnSpPr>
            <a:cxnSpLocks/>
            <a:stCxn id="83" idx="2"/>
            <a:endCxn id="101" idx="1"/>
          </p:cNvCxnSpPr>
          <p:nvPr/>
        </p:nvCxnSpPr>
        <p:spPr bwMode="gray">
          <a:xfrm rot="16200000" flipH="1">
            <a:off x="5944554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Gewinkelte Verbindung 120">
            <a:extLst>
              <a:ext uri="{FF2B5EF4-FFF2-40B4-BE49-F238E27FC236}">
                <a16:creationId xmlns:a16="http://schemas.microsoft.com/office/drawing/2014/main" id="{D7A2B5F5-1EB5-477F-9073-4910A41F66D5}"/>
              </a:ext>
            </a:extLst>
          </p:cNvPr>
          <p:cNvCxnSpPr>
            <a:cxnSpLocks/>
            <a:stCxn id="83" idx="2"/>
            <a:endCxn id="100" idx="1"/>
          </p:cNvCxnSpPr>
          <p:nvPr/>
        </p:nvCxnSpPr>
        <p:spPr bwMode="gray">
          <a:xfrm rot="16200000" flipH="1">
            <a:off x="6242514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6" name="Rechteck 85">
            <a:extLst>
              <a:ext uri="{FF2B5EF4-FFF2-40B4-BE49-F238E27FC236}">
                <a16:creationId xmlns:a16="http://schemas.microsoft.com/office/drawing/2014/main" id="{4D86951F-FF54-433D-B901-E80A66F57B0B}"/>
              </a:ext>
            </a:extLst>
          </p:cNvPr>
          <p:cNvSpPr/>
          <p:nvPr/>
        </p:nvSpPr>
        <p:spPr bwMode="gray">
          <a:xfrm>
            <a:off x="9148636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87" name="Gewinkelte Verbindung 139">
            <a:extLst>
              <a:ext uri="{FF2B5EF4-FFF2-40B4-BE49-F238E27FC236}">
                <a16:creationId xmlns:a16="http://schemas.microsoft.com/office/drawing/2014/main" id="{4C46AC68-34CB-40D9-A05E-48C19605B5D3}"/>
              </a:ext>
            </a:extLst>
          </p:cNvPr>
          <p:cNvCxnSpPr>
            <a:cxnSpLocks/>
            <a:stCxn id="86" idx="2"/>
            <a:endCxn id="102" idx="1"/>
          </p:cNvCxnSpPr>
          <p:nvPr/>
        </p:nvCxnSpPr>
        <p:spPr bwMode="gray">
          <a:xfrm rot="16200000" flipH="1">
            <a:off x="9124122" y="3418321"/>
            <a:ext cx="347148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Gewinkelte Verbindung 144">
            <a:extLst>
              <a:ext uri="{FF2B5EF4-FFF2-40B4-BE49-F238E27FC236}">
                <a16:creationId xmlns:a16="http://schemas.microsoft.com/office/drawing/2014/main" id="{7ADAF316-1BDE-40B9-96C5-0EBFE7865F45}"/>
              </a:ext>
            </a:extLst>
          </p:cNvPr>
          <p:cNvCxnSpPr>
            <a:cxnSpLocks/>
            <a:stCxn id="86" idx="2"/>
            <a:endCxn id="103" idx="1"/>
          </p:cNvCxnSpPr>
          <p:nvPr/>
        </p:nvCxnSpPr>
        <p:spPr bwMode="gray">
          <a:xfrm rot="16200000" flipH="1">
            <a:off x="8826162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winkelte Verbindung 160">
            <a:extLst>
              <a:ext uri="{FF2B5EF4-FFF2-40B4-BE49-F238E27FC236}">
                <a16:creationId xmlns:a16="http://schemas.microsoft.com/office/drawing/2014/main" id="{C9913363-85F3-4D4D-9DA3-40C0947472DF}"/>
              </a:ext>
            </a:extLst>
          </p:cNvPr>
          <p:cNvCxnSpPr>
            <a:cxnSpLocks/>
            <a:stCxn id="104" idx="2"/>
            <a:endCxn id="93" idx="0"/>
          </p:cNvCxnSpPr>
          <p:nvPr/>
        </p:nvCxnSpPr>
        <p:spPr bwMode="gray">
          <a:xfrm rot="5400000">
            <a:off x="5189396" y="1913164"/>
            <a:ext cx="362808" cy="1444010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Gewinkelte Verbindung 163">
            <a:extLst>
              <a:ext uri="{FF2B5EF4-FFF2-40B4-BE49-F238E27FC236}">
                <a16:creationId xmlns:a16="http://schemas.microsoft.com/office/drawing/2014/main" id="{9A71FCE5-8439-4907-864D-60625227529B}"/>
              </a:ext>
            </a:extLst>
          </p:cNvPr>
          <p:cNvCxnSpPr>
            <a:cxnSpLocks/>
            <a:stCxn id="104" idx="2"/>
            <a:endCxn id="94" idx="0"/>
          </p:cNvCxnSpPr>
          <p:nvPr/>
        </p:nvCxnSpPr>
        <p:spPr bwMode="gray">
          <a:xfrm rot="16200000" flipH="1">
            <a:off x="6630199" y="1916371"/>
            <a:ext cx="362808" cy="1437596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Gewinkelte Verbindung 166">
            <a:extLst>
              <a:ext uri="{FF2B5EF4-FFF2-40B4-BE49-F238E27FC236}">
                <a16:creationId xmlns:a16="http://schemas.microsoft.com/office/drawing/2014/main" id="{D900B100-FDD3-4B4E-A66A-54B27FDF51C1}"/>
              </a:ext>
            </a:extLst>
          </p:cNvPr>
          <p:cNvCxnSpPr>
            <a:cxnSpLocks/>
            <a:stCxn id="104" idx="2"/>
            <a:endCxn id="95" idx="0"/>
          </p:cNvCxnSpPr>
          <p:nvPr/>
        </p:nvCxnSpPr>
        <p:spPr bwMode="gray">
          <a:xfrm rot="16200000" flipH="1">
            <a:off x="8071003" y="475567"/>
            <a:ext cx="362809" cy="4319204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ADFD3F46-0A25-4437-A57B-D96737D93615}"/>
              </a:ext>
            </a:extLst>
          </p:cNvPr>
          <p:cNvSpPr/>
          <p:nvPr/>
        </p:nvSpPr>
        <p:spPr bwMode="gray">
          <a:xfrm>
            <a:off x="453605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5EEC86D0-D8D6-4827-BE6B-068C66DA050F}"/>
              </a:ext>
            </a:extLst>
          </p:cNvPr>
          <p:cNvSpPr/>
          <p:nvPr/>
        </p:nvSpPr>
        <p:spPr bwMode="gray">
          <a:xfrm>
            <a:off x="3322407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51B4C94A-3ED4-4A7B-A57D-0B8D47388749}"/>
              </a:ext>
            </a:extLst>
          </p:cNvPr>
          <p:cNvSpPr/>
          <p:nvPr/>
        </p:nvSpPr>
        <p:spPr bwMode="gray">
          <a:xfrm>
            <a:off x="6204013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8C20694-55E9-4100-A1F1-EF5F96BC46D5}"/>
              </a:ext>
            </a:extLst>
          </p:cNvPr>
          <p:cNvSpPr/>
          <p:nvPr/>
        </p:nvSpPr>
        <p:spPr bwMode="gray">
          <a:xfrm>
            <a:off x="9085621" y="2816574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B204298-F933-43A5-B87F-BB94D5D63765}"/>
              </a:ext>
            </a:extLst>
          </p:cNvPr>
          <p:cNvSpPr/>
          <p:nvPr/>
        </p:nvSpPr>
        <p:spPr bwMode="gray">
          <a:xfrm>
            <a:off x="741562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6D4A05-7687-413D-B6E1-7358D8FB60B7}"/>
              </a:ext>
            </a:extLst>
          </p:cNvPr>
          <p:cNvSpPr/>
          <p:nvPr/>
        </p:nvSpPr>
        <p:spPr bwMode="gray">
          <a:xfrm>
            <a:off x="741562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3272EC10-29CE-47F3-91FE-71DD7B90A2ED}"/>
              </a:ext>
            </a:extLst>
          </p:cNvPr>
          <p:cNvSpPr/>
          <p:nvPr/>
        </p:nvSpPr>
        <p:spPr bwMode="gray">
          <a:xfrm>
            <a:off x="3610364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DAC30A6F-FB8C-4384-85A6-742676CD4954}"/>
              </a:ext>
            </a:extLst>
          </p:cNvPr>
          <p:cNvSpPr/>
          <p:nvPr/>
        </p:nvSpPr>
        <p:spPr bwMode="gray">
          <a:xfrm>
            <a:off x="3610364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8EAD389B-697A-4FC1-825D-0AB8E5333F54}"/>
              </a:ext>
            </a:extLst>
          </p:cNvPr>
          <p:cNvSpPr/>
          <p:nvPr/>
        </p:nvSpPr>
        <p:spPr bwMode="gray">
          <a:xfrm>
            <a:off x="6491970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976442DE-993C-448A-9D3B-DDDC5FD53DF5}"/>
              </a:ext>
            </a:extLst>
          </p:cNvPr>
          <p:cNvSpPr/>
          <p:nvPr/>
        </p:nvSpPr>
        <p:spPr bwMode="gray">
          <a:xfrm>
            <a:off x="6491970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156F67-0BFD-4167-92BD-834318194F64}"/>
              </a:ext>
            </a:extLst>
          </p:cNvPr>
          <p:cNvSpPr/>
          <p:nvPr/>
        </p:nvSpPr>
        <p:spPr bwMode="gray">
          <a:xfrm>
            <a:off x="9373578" y="3415777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6CB0DFB-C4FE-4DC1-BF5D-E341C5E812F6}"/>
              </a:ext>
            </a:extLst>
          </p:cNvPr>
          <p:cNvSpPr/>
          <p:nvPr/>
        </p:nvSpPr>
        <p:spPr bwMode="gray">
          <a:xfrm>
            <a:off x="9373578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030A0A1-C99D-41CC-97F9-C45C761EEC39}"/>
              </a:ext>
            </a:extLst>
          </p:cNvPr>
          <p:cNvSpPr/>
          <p:nvPr/>
        </p:nvSpPr>
        <p:spPr bwMode="gray">
          <a:xfrm>
            <a:off x="4539832" y="1916832"/>
            <a:ext cx="3105946" cy="536933"/>
          </a:xfrm>
          <a:prstGeom prst="rect">
            <a:avLst/>
          </a:prstGeom>
          <a:solidFill>
            <a:schemeClr val="tx2"/>
          </a:solidFill>
          <a:ln w="762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cs typeface="EnBW DIN Pro"/>
              </a:rPr>
              <a:t>Name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A9D1224-2CDD-4857-A62D-D2BECFE22AD1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40CFB62B-7644-4483-B813-EF3BCCE621A2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2084C6BF-08D2-41E9-AF41-F5364CE64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4218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8967E83-3CD1-4F41-903D-2C47DE7A9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rganigramm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92</a:t>
            </a:fld>
            <a:endParaRPr lang="de-DE" dirty="0"/>
          </a:p>
        </p:txBody>
      </p:sp>
      <p:cxnSp>
        <p:nvCxnSpPr>
          <p:cNvPr id="59" name="Gewinkelte Verbindung 30">
            <a:extLst>
              <a:ext uri="{FF2B5EF4-FFF2-40B4-BE49-F238E27FC236}">
                <a16:creationId xmlns:a16="http://schemas.microsoft.com/office/drawing/2014/main" id="{F779D167-F740-47F8-8C70-7811A48B13D7}"/>
              </a:ext>
            </a:extLst>
          </p:cNvPr>
          <p:cNvCxnSpPr>
            <a:cxnSpLocks/>
            <a:stCxn id="104" idx="2"/>
            <a:endCxn id="92" idx="0"/>
          </p:cNvCxnSpPr>
          <p:nvPr/>
        </p:nvCxnSpPr>
        <p:spPr bwMode="gray">
          <a:xfrm rot="5400000">
            <a:off x="3754995" y="478763"/>
            <a:ext cx="362808" cy="4312812"/>
          </a:xfrm>
          <a:prstGeom prst="bentConnector3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8E3F83A7-531B-4E3D-AFF8-80FFB9EE7765}"/>
              </a:ext>
            </a:extLst>
          </p:cNvPr>
          <p:cNvSpPr/>
          <p:nvPr/>
        </p:nvSpPr>
        <p:spPr bwMode="gray">
          <a:xfrm>
            <a:off x="516620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62" name="Gewinkelte Verbindung 39">
            <a:extLst>
              <a:ext uri="{FF2B5EF4-FFF2-40B4-BE49-F238E27FC236}">
                <a16:creationId xmlns:a16="http://schemas.microsoft.com/office/drawing/2014/main" id="{36188816-DA9D-4801-A565-D9EFF447EE74}"/>
              </a:ext>
            </a:extLst>
          </p:cNvPr>
          <p:cNvCxnSpPr>
            <a:cxnSpLocks/>
            <a:stCxn id="60" idx="2"/>
            <a:endCxn id="96" idx="1"/>
          </p:cNvCxnSpPr>
          <p:nvPr/>
        </p:nvCxnSpPr>
        <p:spPr bwMode="gray">
          <a:xfrm rot="16200000" flipH="1">
            <a:off x="492106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Gewinkelte Verbindung 52">
            <a:extLst>
              <a:ext uri="{FF2B5EF4-FFF2-40B4-BE49-F238E27FC236}">
                <a16:creationId xmlns:a16="http://schemas.microsoft.com/office/drawing/2014/main" id="{7A7C752D-3BF3-4946-BDAC-8981582C595B}"/>
              </a:ext>
            </a:extLst>
          </p:cNvPr>
          <p:cNvCxnSpPr>
            <a:cxnSpLocks/>
            <a:stCxn id="60" idx="2"/>
            <a:endCxn id="97" idx="1"/>
          </p:cNvCxnSpPr>
          <p:nvPr/>
        </p:nvCxnSpPr>
        <p:spPr bwMode="gray">
          <a:xfrm rot="16200000" flipH="1">
            <a:off x="194146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42604349-DA08-46EF-B58C-F6F858A3E12B}"/>
              </a:ext>
            </a:extLst>
          </p:cNvPr>
          <p:cNvSpPr/>
          <p:nvPr/>
        </p:nvSpPr>
        <p:spPr bwMode="gray">
          <a:xfrm>
            <a:off x="3385422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66" name="Gewinkelte Verbindung 91">
            <a:extLst>
              <a:ext uri="{FF2B5EF4-FFF2-40B4-BE49-F238E27FC236}">
                <a16:creationId xmlns:a16="http://schemas.microsoft.com/office/drawing/2014/main" id="{F5AF2209-9D3C-4E32-A825-5F38C0106371}"/>
              </a:ext>
            </a:extLst>
          </p:cNvPr>
          <p:cNvCxnSpPr>
            <a:cxnSpLocks/>
            <a:stCxn id="64" idx="2"/>
            <a:endCxn id="98" idx="1"/>
          </p:cNvCxnSpPr>
          <p:nvPr/>
        </p:nvCxnSpPr>
        <p:spPr bwMode="gray">
          <a:xfrm rot="16200000" flipH="1">
            <a:off x="3360908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Gewinkelte Verbindung 96">
            <a:extLst>
              <a:ext uri="{FF2B5EF4-FFF2-40B4-BE49-F238E27FC236}">
                <a16:creationId xmlns:a16="http://schemas.microsoft.com/office/drawing/2014/main" id="{5C4D553F-3E0C-4C79-A04D-8BED34B49FAC}"/>
              </a:ext>
            </a:extLst>
          </p:cNvPr>
          <p:cNvCxnSpPr>
            <a:cxnSpLocks/>
            <a:stCxn id="64" idx="2"/>
            <a:endCxn id="99" idx="1"/>
          </p:cNvCxnSpPr>
          <p:nvPr/>
        </p:nvCxnSpPr>
        <p:spPr bwMode="gray">
          <a:xfrm rot="16200000" flipH="1">
            <a:off x="3062948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3" name="Rechteck 82">
            <a:extLst>
              <a:ext uri="{FF2B5EF4-FFF2-40B4-BE49-F238E27FC236}">
                <a16:creationId xmlns:a16="http://schemas.microsoft.com/office/drawing/2014/main" id="{184F2EA1-71A7-4241-A85D-AB98B725FA17}"/>
              </a:ext>
            </a:extLst>
          </p:cNvPr>
          <p:cNvSpPr/>
          <p:nvPr/>
        </p:nvSpPr>
        <p:spPr bwMode="gray">
          <a:xfrm>
            <a:off x="6267028" y="3176629"/>
            <a:ext cx="146355" cy="14400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84" name="Gewinkelte Verbindung 115">
            <a:extLst>
              <a:ext uri="{FF2B5EF4-FFF2-40B4-BE49-F238E27FC236}">
                <a16:creationId xmlns:a16="http://schemas.microsoft.com/office/drawing/2014/main" id="{2FD654C2-0134-41D1-856A-788F624E42B1}"/>
              </a:ext>
            </a:extLst>
          </p:cNvPr>
          <p:cNvCxnSpPr>
            <a:cxnSpLocks/>
            <a:stCxn id="83" idx="2"/>
            <a:endCxn id="101" idx="1"/>
          </p:cNvCxnSpPr>
          <p:nvPr/>
        </p:nvCxnSpPr>
        <p:spPr bwMode="gray">
          <a:xfrm rot="16200000" flipH="1">
            <a:off x="5944554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Gewinkelte Verbindung 120">
            <a:extLst>
              <a:ext uri="{FF2B5EF4-FFF2-40B4-BE49-F238E27FC236}">
                <a16:creationId xmlns:a16="http://schemas.microsoft.com/office/drawing/2014/main" id="{D7A2B5F5-1EB5-477F-9073-4910A41F66D5}"/>
              </a:ext>
            </a:extLst>
          </p:cNvPr>
          <p:cNvCxnSpPr>
            <a:cxnSpLocks/>
            <a:stCxn id="83" idx="2"/>
            <a:endCxn id="100" idx="1"/>
          </p:cNvCxnSpPr>
          <p:nvPr/>
        </p:nvCxnSpPr>
        <p:spPr bwMode="gray">
          <a:xfrm rot="16200000" flipH="1">
            <a:off x="6242514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6" name="Rechteck 85">
            <a:extLst>
              <a:ext uri="{FF2B5EF4-FFF2-40B4-BE49-F238E27FC236}">
                <a16:creationId xmlns:a16="http://schemas.microsoft.com/office/drawing/2014/main" id="{4D86951F-FF54-433D-B901-E80A66F57B0B}"/>
              </a:ext>
            </a:extLst>
          </p:cNvPr>
          <p:cNvSpPr/>
          <p:nvPr/>
        </p:nvSpPr>
        <p:spPr bwMode="gray">
          <a:xfrm>
            <a:off x="9148636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87" name="Gewinkelte Verbindung 139">
            <a:extLst>
              <a:ext uri="{FF2B5EF4-FFF2-40B4-BE49-F238E27FC236}">
                <a16:creationId xmlns:a16="http://schemas.microsoft.com/office/drawing/2014/main" id="{4C46AC68-34CB-40D9-A05E-48C19605B5D3}"/>
              </a:ext>
            </a:extLst>
          </p:cNvPr>
          <p:cNvCxnSpPr>
            <a:cxnSpLocks/>
            <a:stCxn id="86" idx="2"/>
            <a:endCxn id="102" idx="1"/>
          </p:cNvCxnSpPr>
          <p:nvPr/>
        </p:nvCxnSpPr>
        <p:spPr bwMode="gray">
          <a:xfrm rot="16200000" flipH="1">
            <a:off x="9124122" y="3418321"/>
            <a:ext cx="347148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Gewinkelte Verbindung 144">
            <a:extLst>
              <a:ext uri="{FF2B5EF4-FFF2-40B4-BE49-F238E27FC236}">
                <a16:creationId xmlns:a16="http://schemas.microsoft.com/office/drawing/2014/main" id="{7ADAF316-1BDE-40B9-96C5-0EBFE7865F45}"/>
              </a:ext>
            </a:extLst>
          </p:cNvPr>
          <p:cNvCxnSpPr>
            <a:cxnSpLocks/>
            <a:stCxn id="86" idx="2"/>
            <a:endCxn id="103" idx="1"/>
          </p:cNvCxnSpPr>
          <p:nvPr/>
        </p:nvCxnSpPr>
        <p:spPr bwMode="gray">
          <a:xfrm rot="16200000" flipH="1">
            <a:off x="8826162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winkelte Verbindung 160">
            <a:extLst>
              <a:ext uri="{FF2B5EF4-FFF2-40B4-BE49-F238E27FC236}">
                <a16:creationId xmlns:a16="http://schemas.microsoft.com/office/drawing/2014/main" id="{C9913363-85F3-4D4D-9DA3-40C0947472DF}"/>
              </a:ext>
            </a:extLst>
          </p:cNvPr>
          <p:cNvCxnSpPr>
            <a:cxnSpLocks/>
            <a:stCxn id="104" idx="2"/>
            <a:endCxn id="93" idx="0"/>
          </p:cNvCxnSpPr>
          <p:nvPr/>
        </p:nvCxnSpPr>
        <p:spPr bwMode="gray">
          <a:xfrm rot="5400000">
            <a:off x="5189396" y="1913164"/>
            <a:ext cx="362808" cy="1444010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Gewinkelte Verbindung 163">
            <a:extLst>
              <a:ext uri="{FF2B5EF4-FFF2-40B4-BE49-F238E27FC236}">
                <a16:creationId xmlns:a16="http://schemas.microsoft.com/office/drawing/2014/main" id="{9A71FCE5-8439-4907-864D-60625227529B}"/>
              </a:ext>
            </a:extLst>
          </p:cNvPr>
          <p:cNvCxnSpPr>
            <a:cxnSpLocks/>
            <a:stCxn id="104" idx="2"/>
            <a:endCxn id="94" idx="0"/>
          </p:cNvCxnSpPr>
          <p:nvPr/>
        </p:nvCxnSpPr>
        <p:spPr bwMode="gray">
          <a:xfrm rot="16200000" flipH="1">
            <a:off x="6630199" y="1916371"/>
            <a:ext cx="362808" cy="1437596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Gewinkelte Verbindung 166">
            <a:extLst>
              <a:ext uri="{FF2B5EF4-FFF2-40B4-BE49-F238E27FC236}">
                <a16:creationId xmlns:a16="http://schemas.microsoft.com/office/drawing/2014/main" id="{D900B100-FDD3-4B4E-A66A-54B27FDF51C1}"/>
              </a:ext>
            </a:extLst>
          </p:cNvPr>
          <p:cNvCxnSpPr>
            <a:cxnSpLocks/>
            <a:stCxn id="104" idx="2"/>
            <a:endCxn id="95" idx="0"/>
          </p:cNvCxnSpPr>
          <p:nvPr/>
        </p:nvCxnSpPr>
        <p:spPr bwMode="gray">
          <a:xfrm rot="16200000" flipH="1">
            <a:off x="8071003" y="475567"/>
            <a:ext cx="362809" cy="4319204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ADFD3F46-0A25-4437-A57B-D96737D93615}"/>
              </a:ext>
            </a:extLst>
          </p:cNvPr>
          <p:cNvSpPr/>
          <p:nvPr/>
        </p:nvSpPr>
        <p:spPr bwMode="gray">
          <a:xfrm>
            <a:off x="453605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5EEC86D0-D8D6-4827-BE6B-068C66DA050F}"/>
              </a:ext>
            </a:extLst>
          </p:cNvPr>
          <p:cNvSpPr/>
          <p:nvPr/>
        </p:nvSpPr>
        <p:spPr bwMode="gray">
          <a:xfrm>
            <a:off x="3322407" y="2816573"/>
            <a:ext cx="2652776" cy="504000"/>
          </a:xfrm>
          <a:prstGeom prst="rect">
            <a:avLst/>
          </a:prstGeom>
          <a:solidFill>
            <a:schemeClr val="tx2"/>
          </a:solidFill>
          <a:ln w="762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Name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51B4C94A-3ED4-4A7B-A57D-0B8D47388749}"/>
              </a:ext>
            </a:extLst>
          </p:cNvPr>
          <p:cNvSpPr/>
          <p:nvPr/>
        </p:nvSpPr>
        <p:spPr bwMode="gray">
          <a:xfrm>
            <a:off x="6204013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8C20694-55E9-4100-A1F1-EF5F96BC46D5}"/>
              </a:ext>
            </a:extLst>
          </p:cNvPr>
          <p:cNvSpPr/>
          <p:nvPr/>
        </p:nvSpPr>
        <p:spPr bwMode="gray">
          <a:xfrm>
            <a:off x="9085621" y="2816574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B204298-F933-43A5-B87F-BB94D5D63765}"/>
              </a:ext>
            </a:extLst>
          </p:cNvPr>
          <p:cNvSpPr/>
          <p:nvPr/>
        </p:nvSpPr>
        <p:spPr bwMode="gray">
          <a:xfrm>
            <a:off x="741562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6D4A05-7687-413D-B6E1-7358D8FB60B7}"/>
              </a:ext>
            </a:extLst>
          </p:cNvPr>
          <p:cNvSpPr/>
          <p:nvPr/>
        </p:nvSpPr>
        <p:spPr bwMode="gray">
          <a:xfrm>
            <a:off x="741562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3272EC10-29CE-47F3-91FE-71DD7B90A2ED}"/>
              </a:ext>
            </a:extLst>
          </p:cNvPr>
          <p:cNvSpPr/>
          <p:nvPr/>
        </p:nvSpPr>
        <p:spPr bwMode="gray">
          <a:xfrm>
            <a:off x="3610364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DAC30A6F-FB8C-4384-85A6-742676CD4954}"/>
              </a:ext>
            </a:extLst>
          </p:cNvPr>
          <p:cNvSpPr/>
          <p:nvPr/>
        </p:nvSpPr>
        <p:spPr bwMode="gray">
          <a:xfrm>
            <a:off x="3610364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8EAD389B-697A-4FC1-825D-0AB8E5333F54}"/>
              </a:ext>
            </a:extLst>
          </p:cNvPr>
          <p:cNvSpPr/>
          <p:nvPr/>
        </p:nvSpPr>
        <p:spPr bwMode="gray">
          <a:xfrm>
            <a:off x="6491970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976442DE-993C-448A-9D3B-DDDC5FD53DF5}"/>
              </a:ext>
            </a:extLst>
          </p:cNvPr>
          <p:cNvSpPr/>
          <p:nvPr/>
        </p:nvSpPr>
        <p:spPr bwMode="gray">
          <a:xfrm>
            <a:off x="6491970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156F67-0BFD-4167-92BD-834318194F64}"/>
              </a:ext>
            </a:extLst>
          </p:cNvPr>
          <p:cNvSpPr/>
          <p:nvPr/>
        </p:nvSpPr>
        <p:spPr bwMode="gray">
          <a:xfrm>
            <a:off x="9373578" y="3415777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6CB0DFB-C4FE-4DC1-BF5D-E341C5E812F6}"/>
              </a:ext>
            </a:extLst>
          </p:cNvPr>
          <p:cNvSpPr/>
          <p:nvPr/>
        </p:nvSpPr>
        <p:spPr bwMode="gray">
          <a:xfrm>
            <a:off x="9373578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030A0A1-C99D-41CC-97F9-C45C761EEC39}"/>
              </a:ext>
            </a:extLst>
          </p:cNvPr>
          <p:cNvSpPr/>
          <p:nvPr/>
        </p:nvSpPr>
        <p:spPr bwMode="gray">
          <a:xfrm>
            <a:off x="4539832" y="1916832"/>
            <a:ext cx="3105946" cy="536933"/>
          </a:xfrm>
          <a:prstGeom prst="rect">
            <a:avLst/>
          </a:prstGeom>
          <a:solidFill>
            <a:srgbClr val="FE8F11"/>
          </a:solidFill>
          <a:ln w="7620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cs typeface="EnBW DIN Pro"/>
              </a:rPr>
              <a:t>Name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A9D1224-2CDD-4857-A62D-D2BECFE22AD1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40CFB62B-7644-4483-B813-EF3BCCE621A2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2084C6BF-08D2-41E9-AF41-F5364CE64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0411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D31F189-D62E-45F3-A678-FCF238466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rganigramm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93</a:t>
            </a:fld>
            <a:endParaRPr lang="de-DE" dirty="0"/>
          </a:p>
        </p:txBody>
      </p:sp>
      <p:cxnSp>
        <p:nvCxnSpPr>
          <p:cNvPr id="59" name="Gewinkelte Verbindung 30">
            <a:extLst>
              <a:ext uri="{FF2B5EF4-FFF2-40B4-BE49-F238E27FC236}">
                <a16:creationId xmlns:a16="http://schemas.microsoft.com/office/drawing/2014/main" id="{F779D167-F740-47F8-8C70-7811A48B13D7}"/>
              </a:ext>
            </a:extLst>
          </p:cNvPr>
          <p:cNvCxnSpPr>
            <a:cxnSpLocks/>
            <a:stCxn id="104" idx="2"/>
            <a:endCxn id="92" idx="0"/>
          </p:cNvCxnSpPr>
          <p:nvPr/>
        </p:nvCxnSpPr>
        <p:spPr bwMode="gray">
          <a:xfrm rot="5400000">
            <a:off x="3709202" y="2333375"/>
            <a:ext cx="684147" cy="4099340"/>
          </a:xfrm>
          <a:prstGeom prst="bentConnector3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winkelte Verbindung 160">
            <a:extLst>
              <a:ext uri="{FF2B5EF4-FFF2-40B4-BE49-F238E27FC236}">
                <a16:creationId xmlns:a16="http://schemas.microsoft.com/office/drawing/2014/main" id="{C9913363-85F3-4D4D-9DA3-40C0947472DF}"/>
              </a:ext>
            </a:extLst>
          </p:cNvPr>
          <p:cNvCxnSpPr>
            <a:cxnSpLocks/>
            <a:stCxn id="104" idx="2"/>
            <a:endCxn id="93" idx="0"/>
          </p:cNvCxnSpPr>
          <p:nvPr/>
        </p:nvCxnSpPr>
        <p:spPr bwMode="gray">
          <a:xfrm rot="5400000">
            <a:off x="5758872" y="4383045"/>
            <a:ext cx="684147" cy="12700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Gewinkelte Verbindung 166">
            <a:extLst>
              <a:ext uri="{FF2B5EF4-FFF2-40B4-BE49-F238E27FC236}">
                <a16:creationId xmlns:a16="http://schemas.microsoft.com/office/drawing/2014/main" id="{D900B100-FDD3-4B4E-A66A-54B27FDF51C1}"/>
              </a:ext>
            </a:extLst>
          </p:cNvPr>
          <p:cNvCxnSpPr>
            <a:cxnSpLocks/>
            <a:stCxn id="104" idx="2"/>
            <a:endCxn id="95" idx="0"/>
          </p:cNvCxnSpPr>
          <p:nvPr/>
        </p:nvCxnSpPr>
        <p:spPr bwMode="gray">
          <a:xfrm rot="16200000" flipH="1">
            <a:off x="7808540" y="2333376"/>
            <a:ext cx="684148" cy="4099339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ADFD3F46-0A25-4437-A57B-D96737D93615}"/>
              </a:ext>
            </a:extLst>
          </p:cNvPr>
          <p:cNvSpPr/>
          <p:nvPr/>
        </p:nvSpPr>
        <p:spPr bwMode="gray">
          <a:xfrm>
            <a:off x="453605" y="4725119"/>
            <a:ext cx="3096000" cy="86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5EEC86D0-D8D6-4827-BE6B-068C66DA050F}"/>
              </a:ext>
            </a:extLst>
          </p:cNvPr>
          <p:cNvSpPr/>
          <p:nvPr/>
        </p:nvSpPr>
        <p:spPr bwMode="gray">
          <a:xfrm>
            <a:off x="4552945" y="4725119"/>
            <a:ext cx="3096000" cy="86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8C20694-55E9-4100-A1F1-EF5F96BC46D5}"/>
              </a:ext>
            </a:extLst>
          </p:cNvPr>
          <p:cNvSpPr/>
          <p:nvPr/>
        </p:nvSpPr>
        <p:spPr bwMode="gray">
          <a:xfrm>
            <a:off x="8652284" y="4725120"/>
            <a:ext cx="3096000" cy="864000"/>
          </a:xfrm>
          <a:prstGeom prst="rect">
            <a:avLst/>
          </a:prstGeom>
          <a:solidFill>
            <a:schemeClr val="bg2"/>
          </a:solidFill>
          <a:ln w="7620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Name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CFEA1FA6-B6F0-407B-8D88-F150DDAE4732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636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BA99A826-CF07-4192-B183-7541F8413529}"/>
              </a:ext>
            </a:extLst>
          </p:cNvPr>
          <p:cNvCxnSpPr>
            <a:cxnSpLocks/>
            <a:stCxn id="104" idx="2"/>
            <a:endCxn id="93" idx="0"/>
          </p:cNvCxnSpPr>
          <p:nvPr/>
        </p:nvCxnSpPr>
        <p:spPr>
          <a:xfrm>
            <a:off x="6100945" y="4040972"/>
            <a:ext cx="0" cy="684147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4" name="Rechteck 103">
            <a:extLst>
              <a:ext uri="{FF2B5EF4-FFF2-40B4-BE49-F238E27FC236}">
                <a16:creationId xmlns:a16="http://schemas.microsoft.com/office/drawing/2014/main" id="{E030A0A1-C99D-41CC-97F9-C45C761EEC39}"/>
              </a:ext>
            </a:extLst>
          </p:cNvPr>
          <p:cNvSpPr/>
          <p:nvPr/>
        </p:nvSpPr>
        <p:spPr bwMode="gray">
          <a:xfrm>
            <a:off x="4552945" y="3176972"/>
            <a:ext cx="3096000" cy="864000"/>
          </a:xfrm>
          <a:prstGeom prst="rect">
            <a:avLst/>
          </a:prstGeom>
          <a:solidFill>
            <a:schemeClr val="tx2"/>
          </a:solidFill>
          <a:ln w="762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cs typeface="EnBW DIN Pro"/>
              </a:rPr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534675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rmen und</a:t>
            </a:r>
            <a:br>
              <a:rPr lang="de-DE" dirty="0"/>
            </a:br>
            <a:r>
              <a:rPr lang="de-DE" dirty="0" err="1"/>
              <a:t>Textbox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4908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02A06B3-E259-4D73-9F06-822C4FD9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ktoren – Zwei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6A5ABE-890C-461D-8438-ADB381D6B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2EE19-91C5-43C2-86D4-F1CCA222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5</a:t>
            </a:fld>
            <a:endParaRPr lang="de-DE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0A19E65-A75C-4B63-9403-51B99D22C1DA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3959226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CCF64BB4-621D-4026-B436-AF5957735A04}"/>
              </a:ext>
            </a:extLst>
          </p:cNvPr>
          <p:cNvSpPr txBox="1">
            <a:spLocks/>
          </p:cNvSpPr>
          <p:nvPr/>
        </p:nvSpPr>
        <p:spPr>
          <a:xfrm>
            <a:off x="7824788" y="1844675"/>
            <a:ext cx="3959223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a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DF659A00-6B84-4733-AF66-62E54BD58472}"/>
              </a:ext>
            </a:extLst>
          </p:cNvPr>
          <p:cNvSpPr txBox="1">
            <a:spLocks/>
          </p:cNvSpPr>
          <p:nvPr/>
        </p:nvSpPr>
        <p:spPr>
          <a:xfrm>
            <a:off x="4872136" y="1916113"/>
            <a:ext cx="2448000" cy="3565115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432000" tIns="0" rIns="432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 algn="ctr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9DB243E-1E49-44AD-8658-0ADD0115FECC}"/>
              </a:ext>
            </a:extLst>
          </p:cNvPr>
          <p:cNvGrpSpPr/>
          <p:nvPr/>
        </p:nvGrpSpPr>
        <p:grpSpPr>
          <a:xfrm>
            <a:off x="4672188" y="3467506"/>
            <a:ext cx="327025" cy="462328"/>
            <a:chOff x="4513699" y="3717032"/>
            <a:chExt cx="502852" cy="710904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B98DDBB5-078A-4743-8A00-9F9660EA1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699" y="3717032"/>
              <a:ext cx="502852" cy="710904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C2497A03-DF6B-42DB-A633-FA77D1190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290" y="3770177"/>
              <a:ext cx="427670" cy="60461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6DBBDBE-04BB-48D0-A8AD-714B13CE8A8C}"/>
              </a:ext>
            </a:extLst>
          </p:cNvPr>
          <p:cNvGrpSpPr/>
          <p:nvPr/>
        </p:nvGrpSpPr>
        <p:grpSpPr>
          <a:xfrm flipH="1">
            <a:off x="7190083" y="3467506"/>
            <a:ext cx="327025" cy="462328"/>
            <a:chOff x="4513699" y="3717032"/>
            <a:chExt cx="502852" cy="710904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F17CBD79-3DB7-4C18-B9C6-6DDD0AA28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699" y="3717032"/>
              <a:ext cx="502852" cy="710904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DC811406-3EF5-4D7E-A3A9-72A3B06F4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290" y="3770177"/>
              <a:ext cx="427670" cy="60461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0758125-884C-470F-A55D-0222C1B0F0EE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5F2765B9-BDD0-42C2-BFA3-22AEA66A2A54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76E85F36-86B7-4FCB-83B2-B88834D48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9012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02A06B3-E259-4D73-9F06-822C4FD9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ktoren – Zwei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6A5ABE-890C-461D-8438-ADB381D6B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2EE19-91C5-43C2-86D4-F1CCA222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6</a:t>
            </a:fld>
            <a:endParaRPr lang="de-DE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0A19E65-A75C-4B63-9403-51B99D22C1DA}"/>
              </a:ext>
            </a:extLst>
          </p:cNvPr>
          <p:cNvSpPr txBox="1">
            <a:spLocks/>
          </p:cNvSpPr>
          <p:nvPr/>
        </p:nvSpPr>
        <p:spPr>
          <a:xfrm>
            <a:off x="407988" y="2997100"/>
            <a:ext cx="3959226" cy="25201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CCF64BB4-621D-4026-B436-AF5957735A04}"/>
              </a:ext>
            </a:extLst>
          </p:cNvPr>
          <p:cNvSpPr txBox="1">
            <a:spLocks/>
          </p:cNvSpPr>
          <p:nvPr/>
        </p:nvSpPr>
        <p:spPr>
          <a:xfrm>
            <a:off x="7824788" y="2997100"/>
            <a:ext cx="3959223" cy="25201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a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DF659A00-6B84-4733-AF66-62E54BD58472}"/>
              </a:ext>
            </a:extLst>
          </p:cNvPr>
          <p:cNvSpPr txBox="1">
            <a:spLocks/>
          </p:cNvSpPr>
          <p:nvPr/>
        </p:nvSpPr>
        <p:spPr>
          <a:xfrm>
            <a:off x="4872136" y="1916113"/>
            <a:ext cx="2448000" cy="3565115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432000" tIns="0" rIns="432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 algn="ctr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9DB243E-1E49-44AD-8658-0ADD0115FECC}"/>
              </a:ext>
            </a:extLst>
          </p:cNvPr>
          <p:cNvGrpSpPr/>
          <p:nvPr/>
        </p:nvGrpSpPr>
        <p:grpSpPr>
          <a:xfrm>
            <a:off x="4672188" y="3467506"/>
            <a:ext cx="327025" cy="462328"/>
            <a:chOff x="4513699" y="3717032"/>
            <a:chExt cx="502852" cy="710904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B98DDBB5-078A-4743-8A00-9F9660EA1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699" y="3717032"/>
              <a:ext cx="502852" cy="710904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C2497A03-DF6B-42DB-A633-FA77D1190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290" y="3770177"/>
              <a:ext cx="427670" cy="60461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6DBBDBE-04BB-48D0-A8AD-714B13CE8A8C}"/>
              </a:ext>
            </a:extLst>
          </p:cNvPr>
          <p:cNvGrpSpPr/>
          <p:nvPr/>
        </p:nvGrpSpPr>
        <p:grpSpPr>
          <a:xfrm flipH="1">
            <a:off x="7190083" y="3467506"/>
            <a:ext cx="327025" cy="462328"/>
            <a:chOff x="4513699" y="3717032"/>
            <a:chExt cx="502852" cy="710904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F17CBD79-3DB7-4C18-B9C6-6DDD0AA28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699" y="3717032"/>
              <a:ext cx="502852" cy="710904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DC811406-3EF5-4D7E-A3A9-72A3B06F4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290" y="3770177"/>
              <a:ext cx="427670" cy="60461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0758125-884C-470F-A55D-0222C1B0F0EE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5F2765B9-BDD0-42C2-BFA3-22AEA66A2A54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76E85F36-86B7-4FCB-83B2-B88834D48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B03C52BA-9042-2B71-72F9-C32761D26C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6800" y="1846800"/>
            <a:ext cx="972000" cy="972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C4A5150-E3E5-5FFF-731C-4C298EE3BB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26400" y="1846800"/>
            <a:ext cx="972000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22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42A8647-98F8-4B81-8382-C8DDD3F254E7}"/>
              </a:ext>
            </a:extLst>
          </p:cNvPr>
          <p:cNvCxnSpPr>
            <a:cxnSpLocks/>
          </p:cNvCxnSpPr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559E6E7B-E9BC-494A-81CA-84399074C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 / Reak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A9EBFA-94FE-48B5-A69C-0D117EF60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884DC7-7277-4CE6-8C11-A04771720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7</a:t>
            </a:fld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6A8D0B98-962B-4561-8E4F-5B7126D2FB0A}"/>
              </a:ext>
            </a:extLst>
          </p:cNvPr>
          <p:cNvGrpSpPr/>
          <p:nvPr/>
        </p:nvGrpSpPr>
        <p:grpSpPr>
          <a:xfrm>
            <a:off x="5807968" y="3368543"/>
            <a:ext cx="571656" cy="1417902"/>
            <a:chOff x="5464218" y="2730698"/>
            <a:chExt cx="999297" cy="247859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0A6921A-3997-4D30-B756-8BF845FD0F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64218" y="3796549"/>
              <a:ext cx="999297" cy="141274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2"/>
            </a:solidFill>
            <a:ln w="317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CDA71C0A-11C3-42AC-9D56-BFC28C3D4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218" y="2730698"/>
              <a:ext cx="999297" cy="141274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 w="317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944FD48E-34FB-43C6-84BB-E3444C8B0555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4787912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2F57A549-9EE2-4E3B-91B8-736B0E10DEE4}"/>
              </a:ext>
            </a:extLst>
          </p:cNvPr>
          <p:cNvSpPr txBox="1">
            <a:spLocks/>
          </p:cNvSpPr>
          <p:nvPr/>
        </p:nvSpPr>
        <p:spPr>
          <a:xfrm>
            <a:off x="6995605" y="1844675"/>
            <a:ext cx="4788407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a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79238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42A8647-98F8-4B81-8382-C8DDD3F254E7}"/>
              </a:ext>
            </a:extLst>
          </p:cNvPr>
          <p:cNvCxnSpPr>
            <a:cxnSpLocks/>
          </p:cNvCxnSpPr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559E6E7B-E9BC-494A-81CA-84399074C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 / Reak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A9EBFA-94FE-48B5-A69C-0D117EF60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884DC7-7277-4CE6-8C11-A04771720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8</a:t>
            </a:fld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6A8D0B98-962B-4561-8E4F-5B7126D2FB0A}"/>
              </a:ext>
            </a:extLst>
          </p:cNvPr>
          <p:cNvGrpSpPr/>
          <p:nvPr/>
        </p:nvGrpSpPr>
        <p:grpSpPr>
          <a:xfrm>
            <a:off x="5807968" y="3368543"/>
            <a:ext cx="571656" cy="1417902"/>
            <a:chOff x="5464218" y="2730698"/>
            <a:chExt cx="999297" cy="247859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0A6921A-3997-4D30-B756-8BF845FD0F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64218" y="3796549"/>
              <a:ext cx="999297" cy="141274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2"/>
            </a:solidFill>
            <a:ln w="317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CDA71C0A-11C3-42AC-9D56-BFC28C3D4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218" y="2730698"/>
              <a:ext cx="999297" cy="141274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 w="317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944FD48E-34FB-43C6-84BB-E3444C8B0555}"/>
              </a:ext>
            </a:extLst>
          </p:cNvPr>
          <p:cNvSpPr txBox="1">
            <a:spLocks/>
          </p:cNvSpPr>
          <p:nvPr/>
        </p:nvSpPr>
        <p:spPr>
          <a:xfrm>
            <a:off x="407988" y="2816932"/>
            <a:ext cx="4787912" cy="36362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2F57A549-9EE2-4E3B-91B8-736B0E10DEE4}"/>
              </a:ext>
            </a:extLst>
          </p:cNvPr>
          <p:cNvSpPr txBox="1">
            <a:spLocks/>
          </p:cNvSpPr>
          <p:nvPr/>
        </p:nvSpPr>
        <p:spPr>
          <a:xfrm>
            <a:off x="6995605" y="2816932"/>
            <a:ext cx="4788407" cy="36362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a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1D2AF51-FEE6-B26F-B663-0081C1AD3E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6800" y="1846800"/>
            <a:ext cx="972000" cy="972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81C1D6C0-D83D-3C46-10E0-F36995FA4A5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26400" y="1846800"/>
            <a:ext cx="972000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71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02A06B3-E259-4D73-9F06-822C4FD9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(Auswahl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6A5ABE-890C-461D-8438-ADB381D6B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2EE19-91C5-43C2-86D4-F1CCA222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9</a:t>
            </a:fld>
            <a:endParaRPr lang="de-DE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C92AAF63-10C8-4D71-93BD-00C13AE30E19}"/>
              </a:ext>
            </a:extLst>
          </p:cNvPr>
          <p:cNvCxnSpPr/>
          <p:nvPr/>
        </p:nvCxnSpPr>
        <p:spPr>
          <a:xfrm flipH="1">
            <a:off x="4079776" y="3140968"/>
            <a:ext cx="65529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659AF435-C9F1-4374-8E62-B01D716F9BFA}"/>
              </a:ext>
            </a:extLst>
          </p:cNvPr>
          <p:cNvCxnSpPr/>
          <p:nvPr/>
        </p:nvCxnSpPr>
        <p:spPr>
          <a:xfrm flipH="1">
            <a:off x="4079776" y="4365104"/>
            <a:ext cx="65529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818DCDC-117F-496B-BC29-EC8DE4CE9D67}"/>
              </a:ext>
            </a:extLst>
          </p:cNvPr>
          <p:cNvSpPr txBox="1">
            <a:spLocks/>
          </p:cNvSpPr>
          <p:nvPr/>
        </p:nvSpPr>
        <p:spPr>
          <a:xfrm>
            <a:off x="407988" y="1881188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CB66052-B14E-4C63-8520-F38C057D6568}"/>
              </a:ext>
            </a:extLst>
          </p:cNvPr>
          <p:cNvSpPr txBox="1">
            <a:spLocks/>
          </p:cNvSpPr>
          <p:nvPr/>
        </p:nvSpPr>
        <p:spPr>
          <a:xfrm>
            <a:off x="407368" y="4185316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0BCF1B90-B554-490B-8980-9092CCD138F9}"/>
              </a:ext>
            </a:extLst>
          </p:cNvPr>
          <p:cNvSpPr txBox="1">
            <a:spLocks/>
          </p:cNvSpPr>
          <p:nvPr/>
        </p:nvSpPr>
        <p:spPr>
          <a:xfrm>
            <a:off x="8400876" y="1880828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79A510AF-6A8A-4AAA-B8C2-91EC52A2F9AF}"/>
              </a:ext>
            </a:extLst>
          </p:cNvPr>
          <p:cNvSpPr txBox="1">
            <a:spLocks/>
          </p:cNvSpPr>
          <p:nvPr/>
        </p:nvSpPr>
        <p:spPr>
          <a:xfrm>
            <a:off x="8400256" y="4184956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CAA93C43-49AD-4121-AB2F-F385CF2E2C3C}"/>
              </a:ext>
            </a:extLst>
          </p:cNvPr>
          <p:cNvCxnSpPr>
            <a:cxnSpLocks/>
          </p:cNvCxnSpPr>
          <p:nvPr/>
        </p:nvCxnSpPr>
        <p:spPr>
          <a:xfrm flipH="1">
            <a:off x="7471067" y="5008618"/>
            <a:ext cx="641158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B4D3F1C-0B92-400B-BA10-3CCB22509DF0}"/>
              </a:ext>
            </a:extLst>
          </p:cNvPr>
          <p:cNvCxnSpPr/>
          <p:nvPr/>
        </p:nvCxnSpPr>
        <p:spPr>
          <a:xfrm>
            <a:off x="4079776" y="1881188"/>
            <a:ext cx="0" cy="2065453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2397B6F3-0FBE-4798-AF17-DE30F597FBAD}"/>
              </a:ext>
            </a:extLst>
          </p:cNvPr>
          <p:cNvCxnSpPr>
            <a:cxnSpLocks/>
          </p:cNvCxnSpPr>
          <p:nvPr/>
        </p:nvCxnSpPr>
        <p:spPr>
          <a:xfrm>
            <a:off x="4079776" y="4257316"/>
            <a:ext cx="0" cy="201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4DB693C0-CB7C-4B71-91FB-A27908499E72}"/>
              </a:ext>
            </a:extLst>
          </p:cNvPr>
          <p:cNvCxnSpPr/>
          <p:nvPr/>
        </p:nvCxnSpPr>
        <p:spPr>
          <a:xfrm>
            <a:off x="8112224" y="1881188"/>
            <a:ext cx="0" cy="2051644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E1543F0-A782-41C7-AAEA-B12E6EEC454E}"/>
              </a:ext>
            </a:extLst>
          </p:cNvPr>
          <p:cNvCxnSpPr>
            <a:cxnSpLocks/>
          </p:cNvCxnSpPr>
          <p:nvPr/>
        </p:nvCxnSpPr>
        <p:spPr>
          <a:xfrm>
            <a:off x="8112224" y="4257316"/>
            <a:ext cx="0" cy="201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BF999F54-AA3F-470B-88B3-62F9F673BD62}"/>
              </a:ext>
            </a:extLst>
          </p:cNvPr>
          <p:cNvGrpSpPr/>
          <p:nvPr/>
        </p:nvGrpSpPr>
        <p:grpSpPr>
          <a:xfrm>
            <a:off x="4735067" y="2709314"/>
            <a:ext cx="2736000" cy="2736000"/>
            <a:chOff x="4976594" y="2843200"/>
            <a:chExt cx="2159999" cy="2159999"/>
          </a:xfrm>
        </p:grpSpPr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BD77AAD8-B56E-4143-9C7B-DEC81D60F74F}"/>
                </a:ext>
              </a:extLst>
            </p:cNvPr>
            <p:cNvSpPr/>
            <p:nvPr/>
          </p:nvSpPr>
          <p:spPr>
            <a:xfrm>
              <a:off x="4976594" y="2843200"/>
              <a:ext cx="829663" cy="689521"/>
            </a:xfrm>
            <a:custGeom>
              <a:avLst/>
              <a:gdLst>
                <a:gd name="connsiteX0" fmla="*/ 30024 w 829663"/>
                <a:gd name="connsiteY0" fmla="*/ 0 h 689521"/>
                <a:gd name="connsiteX1" fmla="*/ 689521 w 829663"/>
                <a:gd name="connsiteY1" fmla="*/ 0 h 689521"/>
                <a:gd name="connsiteX2" fmla="*/ 689521 w 829663"/>
                <a:gd name="connsiteY2" fmla="*/ 272020 h 689521"/>
                <a:gd name="connsiteX3" fmla="*/ 704631 w 829663"/>
                <a:gd name="connsiteY3" fmla="*/ 261833 h 689521"/>
                <a:gd name="connsiteX4" fmla="*/ 739663 w 829663"/>
                <a:gd name="connsiteY4" fmla="*/ 254760 h 689521"/>
                <a:gd name="connsiteX5" fmla="*/ 829663 w 829663"/>
                <a:gd name="connsiteY5" fmla="*/ 344760 h 689521"/>
                <a:gd name="connsiteX6" fmla="*/ 739663 w 829663"/>
                <a:gd name="connsiteY6" fmla="*/ 434760 h 689521"/>
                <a:gd name="connsiteX7" fmla="*/ 704631 w 829663"/>
                <a:gd name="connsiteY7" fmla="*/ 427688 h 689521"/>
                <a:gd name="connsiteX8" fmla="*/ 689521 w 829663"/>
                <a:gd name="connsiteY8" fmla="*/ 417500 h 689521"/>
                <a:gd name="connsiteX9" fmla="*/ 689521 w 829663"/>
                <a:gd name="connsiteY9" fmla="*/ 689521 h 689521"/>
                <a:gd name="connsiteX10" fmla="*/ 472382 w 829663"/>
                <a:gd name="connsiteY10" fmla="*/ 689521 h 689521"/>
                <a:gd name="connsiteX11" fmla="*/ 462439 w 829663"/>
                <a:gd name="connsiteY11" fmla="*/ 640269 h 689521"/>
                <a:gd name="connsiteX12" fmla="*/ 344760 w 829663"/>
                <a:gd name="connsiteY12" fmla="*/ 562266 h 689521"/>
                <a:gd name="connsiteX13" fmla="*/ 227082 w 829663"/>
                <a:gd name="connsiteY13" fmla="*/ 640269 h 689521"/>
                <a:gd name="connsiteX14" fmla="*/ 217138 w 829663"/>
                <a:gd name="connsiteY14" fmla="*/ 689521 h 689521"/>
                <a:gd name="connsiteX15" fmla="*/ 0 w 829663"/>
                <a:gd name="connsiteY15" fmla="*/ 689521 h 689521"/>
                <a:gd name="connsiteX16" fmla="*/ 0 w 829663"/>
                <a:gd name="connsiteY16" fmla="*/ 30024 h 689521"/>
                <a:gd name="connsiteX17" fmla="*/ 30024 w 829663"/>
                <a:gd name="connsiteY17" fmla="*/ 0 h 68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29663" h="689521">
                  <a:moveTo>
                    <a:pt x="30024" y="0"/>
                  </a:moveTo>
                  <a:lnTo>
                    <a:pt x="689521" y="0"/>
                  </a:lnTo>
                  <a:lnTo>
                    <a:pt x="689521" y="272020"/>
                  </a:lnTo>
                  <a:lnTo>
                    <a:pt x="704631" y="261833"/>
                  </a:lnTo>
                  <a:cubicBezTo>
                    <a:pt x="715398" y="257279"/>
                    <a:pt x="727237" y="254760"/>
                    <a:pt x="739663" y="254760"/>
                  </a:cubicBezTo>
                  <a:cubicBezTo>
                    <a:pt x="789369" y="254760"/>
                    <a:pt x="829663" y="295054"/>
                    <a:pt x="829663" y="344760"/>
                  </a:cubicBezTo>
                  <a:cubicBezTo>
                    <a:pt x="829663" y="394466"/>
                    <a:pt x="789369" y="434760"/>
                    <a:pt x="739663" y="434760"/>
                  </a:cubicBezTo>
                  <a:cubicBezTo>
                    <a:pt x="727237" y="434760"/>
                    <a:pt x="715398" y="432242"/>
                    <a:pt x="704631" y="427688"/>
                  </a:cubicBezTo>
                  <a:lnTo>
                    <a:pt x="689521" y="417500"/>
                  </a:lnTo>
                  <a:lnTo>
                    <a:pt x="689521" y="689521"/>
                  </a:lnTo>
                  <a:lnTo>
                    <a:pt x="472382" y="689521"/>
                  </a:lnTo>
                  <a:lnTo>
                    <a:pt x="462439" y="640269"/>
                  </a:lnTo>
                  <a:cubicBezTo>
                    <a:pt x="443051" y="594430"/>
                    <a:pt x="397662" y="562266"/>
                    <a:pt x="344760" y="562266"/>
                  </a:cubicBezTo>
                  <a:cubicBezTo>
                    <a:pt x="291859" y="562266"/>
                    <a:pt x="246470" y="594430"/>
                    <a:pt x="227082" y="640269"/>
                  </a:cubicBezTo>
                  <a:lnTo>
                    <a:pt x="217138" y="689521"/>
                  </a:lnTo>
                  <a:lnTo>
                    <a:pt x="0" y="689521"/>
                  </a:lnTo>
                  <a:lnTo>
                    <a:pt x="0" y="30024"/>
                  </a:lnTo>
                  <a:cubicBezTo>
                    <a:pt x="0" y="13442"/>
                    <a:pt x="13442" y="0"/>
                    <a:pt x="30024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C2ED094C-9197-4C3B-8687-7FDAA11D4F03}"/>
                </a:ext>
              </a:extLst>
            </p:cNvPr>
            <p:cNvSpPr/>
            <p:nvPr/>
          </p:nvSpPr>
          <p:spPr>
            <a:xfrm>
              <a:off x="6447073" y="2843200"/>
              <a:ext cx="689520" cy="826593"/>
            </a:xfrm>
            <a:custGeom>
              <a:avLst/>
              <a:gdLst>
                <a:gd name="connsiteX0" fmla="*/ 0 w 689520"/>
                <a:gd name="connsiteY0" fmla="*/ 0 h 826593"/>
                <a:gd name="connsiteX1" fmla="*/ 659496 w 689520"/>
                <a:gd name="connsiteY1" fmla="*/ 0 h 826593"/>
                <a:gd name="connsiteX2" fmla="*/ 689520 w 689520"/>
                <a:gd name="connsiteY2" fmla="*/ 30024 h 826593"/>
                <a:gd name="connsiteX3" fmla="*/ 689520 w 689520"/>
                <a:gd name="connsiteY3" fmla="*/ 689521 h 826593"/>
                <a:gd name="connsiteX4" fmla="*/ 419570 w 689520"/>
                <a:gd name="connsiteY4" fmla="*/ 689521 h 826593"/>
                <a:gd name="connsiteX5" fmla="*/ 427688 w 689520"/>
                <a:gd name="connsiteY5" fmla="*/ 701561 h 826593"/>
                <a:gd name="connsiteX6" fmla="*/ 434760 w 689520"/>
                <a:gd name="connsiteY6" fmla="*/ 736593 h 826593"/>
                <a:gd name="connsiteX7" fmla="*/ 344760 w 689520"/>
                <a:gd name="connsiteY7" fmla="*/ 826593 h 826593"/>
                <a:gd name="connsiteX8" fmla="*/ 254760 w 689520"/>
                <a:gd name="connsiteY8" fmla="*/ 736593 h 826593"/>
                <a:gd name="connsiteX9" fmla="*/ 261833 w 689520"/>
                <a:gd name="connsiteY9" fmla="*/ 701561 h 826593"/>
                <a:gd name="connsiteX10" fmla="*/ 269950 w 689520"/>
                <a:gd name="connsiteY10" fmla="*/ 689521 h 826593"/>
                <a:gd name="connsiteX11" fmla="*/ 0 w 689520"/>
                <a:gd name="connsiteY11" fmla="*/ 689521 h 826593"/>
                <a:gd name="connsiteX12" fmla="*/ 0 w 689520"/>
                <a:gd name="connsiteY12" fmla="*/ 471956 h 826593"/>
                <a:gd name="connsiteX13" fmla="*/ 47141 w 689520"/>
                <a:gd name="connsiteY13" fmla="*/ 462439 h 826593"/>
                <a:gd name="connsiteX14" fmla="*/ 125143 w 689520"/>
                <a:gd name="connsiteY14" fmla="*/ 344760 h 826593"/>
                <a:gd name="connsiteX15" fmla="*/ 47141 w 689520"/>
                <a:gd name="connsiteY15" fmla="*/ 227082 h 826593"/>
                <a:gd name="connsiteX16" fmla="*/ 0 w 689520"/>
                <a:gd name="connsiteY16" fmla="*/ 217564 h 8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89520" h="826593">
                  <a:moveTo>
                    <a:pt x="0" y="0"/>
                  </a:moveTo>
                  <a:lnTo>
                    <a:pt x="659496" y="0"/>
                  </a:lnTo>
                  <a:cubicBezTo>
                    <a:pt x="676078" y="0"/>
                    <a:pt x="689520" y="13442"/>
                    <a:pt x="689520" y="30024"/>
                  </a:cubicBezTo>
                  <a:lnTo>
                    <a:pt x="689520" y="689521"/>
                  </a:lnTo>
                  <a:lnTo>
                    <a:pt x="419570" y="689521"/>
                  </a:lnTo>
                  <a:lnTo>
                    <a:pt x="427688" y="701561"/>
                  </a:lnTo>
                  <a:cubicBezTo>
                    <a:pt x="432242" y="712328"/>
                    <a:pt x="434760" y="724167"/>
                    <a:pt x="434760" y="736593"/>
                  </a:cubicBezTo>
                  <a:cubicBezTo>
                    <a:pt x="434760" y="786299"/>
                    <a:pt x="394466" y="826593"/>
                    <a:pt x="344760" y="826593"/>
                  </a:cubicBezTo>
                  <a:cubicBezTo>
                    <a:pt x="295054" y="826593"/>
                    <a:pt x="254760" y="786299"/>
                    <a:pt x="254760" y="736593"/>
                  </a:cubicBezTo>
                  <a:cubicBezTo>
                    <a:pt x="254760" y="724167"/>
                    <a:pt x="257279" y="712328"/>
                    <a:pt x="261833" y="701561"/>
                  </a:cubicBezTo>
                  <a:lnTo>
                    <a:pt x="269950" y="689521"/>
                  </a:lnTo>
                  <a:lnTo>
                    <a:pt x="0" y="689521"/>
                  </a:lnTo>
                  <a:lnTo>
                    <a:pt x="0" y="471956"/>
                  </a:lnTo>
                  <a:lnTo>
                    <a:pt x="47141" y="462439"/>
                  </a:lnTo>
                  <a:cubicBezTo>
                    <a:pt x="92980" y="443050"/>
                    <a:pt x="125143" y="397661"/>
                    <a:pt x="125143" y="344760"/>
                  </a:cubicBezTo>
                  <a:cubicBezTo>
                    <a:pt x="125143" y="291859"/>
                    <a:pt x="92980" y="246470"/>
                    <a:pt x="47141" y="227082"/>
                  </a:cubicBezTo>
                  <a:lnTo>
                    <a:pt x="0" y="2175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1B298EBF-FA2E-4EF2-A9DC-B999A0D4EE54}"/>
                </a:ext>
              </a:extLst>
            </p:cNvPr>
            <p:cNvSpPr/>
            <p:nvPr/>
          </p:nvSpPr>
          <p:spPr>
            <a:xfrm>
              <a:off x="5711834" y="3578439"/>
              <a:ext cx="689521" cy="827620"/>
            </a:xfrm>
            <a:custGeom>
              <a:avLst/>
              <a:gdLst>
                <a:gd name="connsiteX0" fmla="*/ 0 w 689521"/>
                <a:gd name="connsiteY0" fmla="*/ 0 h 827620"/>
                <a:gd name="connsiteX1" fmla="*/ 217318 w 689521"/>
                <a:gd name="connsiteY1" fmla="*/ 0 h 827620"/>
                <a:gd name="connsiteX2" fmla="*/ 217045 w 689521"/>
                <a:gd name="connsiteY2" fmla="*/ 1353 h 827620"/>
                <a:gd name="connsiteX3" fmla="*/ 344760 w 689521"/>
                <a:gd name="connsiteY3" fmla="*/ 129068 h 827620"/>
                <a:gd name="connsiteX4" fmla="*/ 472475 w 689521"/>
                <a:gd name="connsiteY4" fmla="*/ 1353 h 827620"/>
                <a:gd name="connsiteX5" fmla="*/ 472202 w 689521"/>
                <a:gd name="connsiteY5" fmla="*/ 0 h 827620"/>
                <a:gd name="connsiteX6" fmla="*/ 689521 w 689521"/>
                <a:gd name="connsiteY6" fmla="*/ 0 h 827620"/>
                <a:gd name="connsiteX7" fmla="*/ 689521 w 689521"/>
                <a:gd name="connsiteY7" fmla="*/ 217352 h 827620"/>
                <a:gd name="connsiteX8" fmla="*/ 688000 w 689521"/>
                <a:gd name="connsiteY8" fmla="*/ 217045 h 827620"/>
                <a:gd name="connsiteX9" fmla="*/ 560285 w 689521"/>
                <a:gd name="connsiteY9" fmla="*/ 344760 h 827620"/>
                <a:gd name="connsiteX10" fmla="*/ 688000 w 689521"/>
                <a:gd name="connsiteY10" fmla="*/ 472475 h 827620"/>
                <a:gd name="connsiteX11" fmla="*/ 689521 w 689521"/>
                <a:gd name="connsiteY11" fmla="*/ 472168 h 827620"/>
                <a:gd name="connsiteX12" fmla="*/ 689521 w 689521"/>
                <a:gd name="connsiteY12" fmla="*/ 689521 h 827620"/>
                <a:gd name="connsiteX13" fmla="*/ 418878 w 689521"/>
                <a:gd name="connsiteY13" fmla="*/ 689521 h 827620"/>
                <a:gd name="connsiteX14" fmla="*/ 427688 w 689521"/>
                <a:gd name="connsiteY14" fmla="*/ 702588 h 827620"/>
                <a:gd name="connsiteX15" fmla="*/ 434760 w 689521"/>
                <a:gd name="connsiteY15" fmla="*/ 737620 h 827620"/>
                <a:gd name="connsiteX16" fmla="*/ 344760 w 689521"/>
                <a:gd name="connsiteY16" fmla="*/ 827620 h 827620"/>
                <a:gd name="connsiteX17" fmla="*/ 254760 w 689521"/>
                <a:gd name="connsiteY17" fmla="*/ 737620 h 827620"/>
                <a:gd name="connsiteX18" fmla="*/ 261833 w 689521"/>
                <a:gd name="connsiteY18" fmla="*/ 702588 h 827620"/>
                <a:gd name="connsiteX19" fmla="*/ 270643 w 689521"/>
                <a:gd name="connsiteY19" fmla="*/ 689521 h 827620"/>
                <a:gd name="connsiteX20" fmla="*/ 0 w 689521"/>
                <a:gd name="connsiteY20" fmla="*/ 689521 h 827620"/>
                <a:gd name="connsiteX21" fmla="*/ 0 w 689521"/>
                <a:gd name="connsiteY21" fmla="*/ 471857 h 827620"/>
                <a:gd name="connsiteX22" fmla="*/ 3063 w 689521"/>
                <a:gd name="connsiteY22" fmla="*/ 472475 h 827620"/>
                <a:gd name="connsiteX23" fmla="*/ 130778 w 689521"/>
                <a:gd name="connsiteY23" fmla="*/ 344760 h 827620"/>
                <a:gd name="connsiteX24" fmla="*/ 3063 w 689521"/>
                <a:gd name="connsiteY24" fmla="*/ 217045 h 827620"/>
                <a:gd name="connsiteX25" fmla="*/ 0 w 689521"/>
                <a:gd name="connsiteY25" fmla="*/ 217664 h 82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89521" h="827620">
                  <a:moveTo>
                    <a:pt x="0" y="0"/>
                  </a:moveTo>
                  <a:lnTo>
                    <a:pt x="217318" y="0"/>
                  </a:lnTo>
                  <a:lnTo>
                    <a:pt x="217045" y="1353"/>
                  </a:lnTo>
                  <a:cubicBezTo>
                    <a:pt x="217045" y="71888"/>
                    <a:pt x="274225" y="129068"/>
                    <a:pt x="344760" y="129068"/>
                  </a:cubicBezTo>
                  <a:cubicBezTo>
                    <a:pt x="415295" y="129068"/>
                    <a:pt x="472475" y="71888"/>
                    <a:pt x="472475" y="1353"/>
                  </a:cubicBezTo>
                  <a:lnTo>
                    <a:pt x="472202" y="0"/>
                  </a:lnTo>
                  <a:lnTo>
                    <a:pt x="689521" y="0"/>
                  </a:lnTo>
                  <a:lnTo>
                    <a:pt x="689521" y="217352"/>
                  </a:lnTo>
                  <a:lnTo>
                    <a:pt x="688000" y="217045"/>
                  </a:lnTo>
                  <a:cubicBezTo>
                    <a:pt x="617465" y="217045"/>
                    <a:pt x="560285" y="274225"/>
                    <a:pt x="560285" y="344760"/>
                  </a:cubicBezTo>
                  <a:cubicBezTo>
                    <a:pt x="560285" y="415295"/>
                    <a:pt x="617465" y="472475"/>
                    <a:pt x="688000" y="472475"/>
                  </a:cubicBezTo>
                  <a:lnTo>
                    <a:pt x="689521" y="472168"/>
                  </a:lnTo>
                  <a:lnTo>
                    <a:pt x="689521" y="689521"/>
                  </a:lnTo>
                  <a:lnTo>
                    <a:pt x="418878" y="689521"/>
                  </a:lnTo>
                  <a:lnTo>
                    <a:pt x="427688" y="702588"/>
                  </a:lnTo>
                  <a:cubicBezTo>
                    <a:pt x="432242" y="713355"/>
                    <a:pt x="434760" y="725194"/>
                    <a:pt x="434760" y="737620"/>
                  </a:cubicBezTo>
                  <a:cubicBezTo>
                    <a:pt x="434760" y="787326"/>
                    <a:pt x="394466" y="827620"/>
                    <a:pt x="344760" y="827620"/>
                  </a:cubicBezTo>
                  <a:cubicBezTo>
                    <a:pt x="295054" y="827620"/>
                    <a:pt x="254760" y="787326"/>
                    <a:pt x="254760" y="737620"/>
                  </a:cubicBezTo>
                  <a:cubicBezTo>
                    <a:pt x="254760" y="725194"/>
                    <a:pt x="257279" y="713355"/>
                    <a:pt x="261833" y="702588"/>
                  </a:cubicBezTo>
                  <a:lnTo>
                    <a:pt x="270643" y="689521"/>
                  </a:lnTo>
                  <a:lnTo>
                    <a:pt x="0" y="689521"/>
                  </a:lnTo>
                  <a:lnTo>
                    <a:pt x="0" y="471857"/>
                  </a:lnTo>
                  <a:lnTo>
                    <a:pt x="3063" y="472475"/>
                  </a:lnTo>
                  <a:cubicBezTo>
                    <a:pt x="73598" y="472475"/>
                    <a:pt x="130778" y="415295"/>
                    <a:pt x="130778" y="344760"/>
                  </a:cubicBezTo>
                  <a:cubicBezTo>
                    <a:pt x="130778" y="274225"/>
                    <a:pt x="73598" y="217045"/>
                    <a:pt x="3063" y="217045"/>
                  </a:cubicBezTo>
                  <a:lnTo>
                    <a:pt x="0" y="2176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D7C8C43E-75E9-496B-9BF8-1E531E13C4F2}"/>
                </a:ext>
              </a:extLst>
            </p:cNvPr>
            <p:cNvSpPr/>
            <p:nvPr/>
          </p:nvSpPr>
          <p:spPr>
            <a:xfrm>
              <a:off x="4976594" y="4175576"/>
              <a:ext cx="689521" cy="827623"/>
            </a:xfrm>
            <a:custGeom>
              <a:avLst/>
              <a:gdLst>
                <a:gd name="connsiteX0" fmla="*/ 344760 w 689521"/>
                <a:gd name="connsiteY0" fmla="*/ 0 h 827623"/>
                <a:gd name="connsiteX1" fmla="*/ 434760 w 689521"/>
                <a:gd name="connsiteY1" fmla="*/ 90000 h 827623"/>
                <a:gd name="connsiteX2" fmla="*/ 427688 w 689521"/>
                <a:gd name="connsiteY2" fmla="*/ 125032 h 827623"/>
                <a:gd name="connsiteX3" fmla="*/ 418875 w 689521"/>
                <a:gd name="connsiteY3" fmla="*/ 138103 h 827623"/>
                <a:gd name="connsiteX4" fmla="*/ 689521 w 689521"/>
                <a:gd name="connsiteY4" fmla="*/ 138103 h 827623"/>
                <a:gd name="connsiteX5" fmla="*/ 689521 w 689521"/>
                <a:gd name="connsiteY5" fmla="*/ 355148 h 827623"/>
                <a:gd name="connsiteX6" fmla="*/ 561806 w 689521"/>
                <a:gd name="connsiteY6" fmla="*/ 482863 h 827623"/>
                <a:gd name="connsiteX7" fmla="*/ 689521 w 689521"/>
                <a:gd name="connsiteY7" fmla="*/ 610578 h 827623"/>
                <a:gd name="connsiteX8" fmla="*/ 689521 w 689521"/>
                <a:gd name="connsiteY8" fmla="*/ 827623 h 827623"/>
                <a:gd name="connsiteX9" fmla="*/ 30024 w 689521"/>
                <a:gd name="connsiteY9" fmla="*/ 827623 h 827623"/>
                <a:gd name="connsiteX10" fmla="*/ 0 w 689521"/>
                <a:gd name="connsiteY10" fmla="*/ 797599 h 827623"/>
                <a:gd name="connsiteX11" fmla="*/ 0 w 689521"/>
                <a:gd name="connsiteY11" fmla="*/ 138103 h 827623"/>
                <a:gd name="connsiteX12" fmla="*/ 270645 w 689521"/>
                <a:gd name="connsiteY12" fmla="*/ 138103 h 827623"/>
                <a:gd name="connsiteX13" fmla="*/ 261833 w 689521"/>
                <a:gd name="connsiteY13" fmla="*/ 125032 h 827623"/>
                <a:gd name="connsiteX14" fmla="*/ 254760 w 689521"/>
                <a:gd name="connsiteY14" fmla="*/ 90000 h 827623"/>
                <a:gd name="connsiteX15" fmla="*/ 344760 w 689521"/>
                <a:gd name="connsiteY15" fmla="*/ 0 h 82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89521" h="827623">
                  <a:moveTo>
                    <a:pt x="344760" y="0"/>
                  </a:moveTo>
                  <a:cubicBezTo>
                    <a:pt x="394466" y="0"/>
                    <a:pt x="434760" y="40294"/>
                    <a:pt x="434760" y="90000"/>
                  </a:cubicBezTo>
                  <a:cubicBezTo>
                    <a:pt x="434760" y="102426"/>
                    <a:pt x="432242" y="114265"/>
                    <a:pt x="427688" y="125032"/>
                  </a:cubicBezTo>
                  <a:lnTo>
                    <a:pt x="418875" y="138103"/>
                  </a:lnTo>
                  <a:lnTo>
                    <a:pt x="689521" y="138103"/>
                  </a:lnTo>
                  <a:lnTo>
                    <a:pt x="689521" y="355148"/>
                  </a:lnTo>
                  <a:cubicBezTo>
                    <a:pt x="618986" y="355148"/>
                    <a:pt x="561806" y="412328"/>
                    <a:pt x="561806" y="482863"/>
                  </a:cubicBezTo>
                  <a:cubicBezTo>
                    <a:pt x="561806" y="553398"/>
                    <a:pt x="618986" y="610578"/>
                    <a:pt x="689521" y="610578"/>
                  </a:cubicBezTo>
                  <a:lnTo>
                    <a:pt x="689521" y="827623"/>
                  </a:lnTo>
                  <a:lnTo>
                    <a:pt x="30024" y="827623"/>
                  </a:lnTo>
                  <a:cubicBezTo>
                    <a:pt x="13442" y="827623"/>
                    <a:pt x="0" y="814181"/>
                    <a:pt x="0" y="797599"/>
                  </a:cubicBezTo>
                  <a:lnTo>
                    <a:pt x="0" y="138103"/>
                  </a:lnTo>
                  <a:lnTo>
                    <a:pt x="270645" y="138103"/>
                  </a:lnTo>
                  <a:lnTo>
                    <a:pt x="261833" y="125032"/>
                  </a:lnTo>
                  <a:cubicBezTo>
                    <a:pt x="257279" y="114265"/>
                    <a:pt x="254760" y="102426"/>
                    <a:pt x="254760" y="90000"/>
                  </a:cubicBezTo>
                  <a:cubicBezTo>
                    <a:pt x="254760" y="40294"/>
                    <a:pt x="295054" y="0"/>
                    <a:pt x="34476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D0809690-2ABA-4BCA-B833-A7FC00BDE65E}"/>
                </a:ext>
              </a:extLst>
            </p:cNvPr>
            <p:cNvSpPr/>
            <p:nvPr/>
          </p:nvSpPr>
          <p:spPr>
            <a:xfrm>
              <a:off x="6312036" y="4313679"/>
              <a:ext cx="824557" cy="689520"/>
            </a:xfrm>
            <a:custGeom>
              <a:avLst/>
              <a:gdLst>
                <a:gd name="connsiteX0" fmla="*/ 135037 w 824557"/>
                <a:gd name="connsiteY0" fmla="*/ 0 h 689520"/>
                <a:gd name="connsiteX1" fmla="*/ 352563 w 824557"/>
                <a:gd name="connsiteY1" fmla="*/ 0 h 689520"/>
                <a:gd name="connsiteX2" fmla="*/ 352082 w 824557"/>
                <a:gd name="connsiteY2" fmla="*/ 2381 h 689520"/>
                <a:gd name="connsiteX3" fmla="*/ 479797 w 824557"/>
                <a:gd name="connsiteY3" fmla="*/ 130096 h 689520"/>
                <a:gd name="connsiteX4" fmla="*/ 607512 w 824557"/>
                <a:gd name="connsiteY4" fmla="*/ 2381 h 689520"/>
                <a:gd name="connsiteX5" fmla="*/ 607032 w 824557"/>
                <a:gd name="connsiteY5" fmla="*/ 0 h 689520"/>
                <a:gd name="connsiteX6" fmla="*/ 824557 w 824557"/>
                <a:gd name="connsiteY6" fmla="*/ 0 h 689520"/>
                <a:gd name="connsiteX7" fmla="*/ 824557 w 824557"/>
                <a:gd name="connsiteY7" fmla="*/ 659496 h 689520"/>
                <a:gd name="connsiteX8" fmla="*/ 794533 w 824557"/>
                <a:gd name="connsiteY8" fmla="*/ 689520 h 689520"/>
                <a:gd name="connsiteX9" fmla="*/ 135037 w 824557"/>
                <a:gd name="connsiteY9" fmla="*/ 689520 h 689520"/>
                <a:gd name="connsiteX10" fmla="*/ 135037 w 824557"/>
                <a:gd name="connsiteY10" fmla="*/ 420942 h 689520"/>
                <a:gd name="connsiteX11" fmla="*/ 125032 w 824557"/>
                <a:gd name="connsiteY11" fmla="*/ 427688 h 689520"/>
                <a:gd name="connsiteX12" fmla="*/ 90000 w 824557"/>
                <a:gd name="connsiteY12" fmla="*/ 434760 h 689520"/>
                <a:gd name="connsiteX13" fmla="*/ 0 w 824557"/>
                <a:gd name="connsiteY13" fmla="*/ 344760 h 689520"/>
                <a:gd name="connsiteX14" fmla="*/ 90000 w 824557"/>
                <a:gd name="connsiteY14" fmla="*/ 254760 h 689520"/>
                <a:gd name="connsiteX15" fmla="*/ 125032 w 824557"/>
                <a:gd name="connsiteY15" fmla="*/ 261833 h 689520"/>
                <a:gd name="connsiteX16" fmla="*/ 135037 w 824557"/>
                <a:gd name="connsiteY16" fmla="*/ 268578 h 68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24557" h="689520">
                  <a:moveTo>
                    <a:pt x="135037" y="0"/>
                  </a:moveTo>
                  <a:lnTo>
                    <a:pt x="352563" y="0"/>
                  </a:lnTo>
                  <a:lnTo>
                    <a:pt x="352082" y="2381"/>
                  </a:lnTo>
                  <a:cubicBezTo>
                    <a:pt x="352082" y="72916"/>
                    <a:pt x="409262" y="130096"/>
                    <a:pt x="479797" y="130096"/>
                  </a:cubicBezTo>
                  <a:cubicBezTo>
                    <a:pt x="550332" y="130096"/>
                    <a:pt x="607512" y="72916"/>
                    <a:pt x="607512" y="2381"/>
                  </a:cubicBezTo>
                  <a:lnTo>
                    <a:pt x="607032" y="0"/>
                  </a:lnTo>
                  <a:lnTo>
                    <a:pt x="824557" y="0"/>
                  </a:lnTo>
                  <a:lnTo>
                    <a:pt x="824557" y="659496"/>
                  </a:lnTo>
                  <a:cubicBezTo>
                    <a:pt x="824557" y="676078"/>
                    <a:pt x="811115" y="689520"/>
                    <a:pt x="794533" y="689520"/>
                  </a:cubicBezTo>
                  <a:lnTo>
                    <a:pt x="135037" y="689520"/>
                  </a:lnTo>
                  <a:lnTo>
                    <a:pt x="135037" y="420942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5037" y="26857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77AE7907-9A6C-4EBA-B817-DDF9B0D856EC}"/>
                </a:ext>
              </a:extLst>
            </p:cNvPr>
            <p:cNvSpPr/>
            <p:nvPr/>
          </p:nvSpPr>
          <p:spPr>
            <a:xfrm>
              <a:off x="5711834" y="2843200"/>
              <a:ext cx="822667" cy="826593"/>
            </a:xfrm>
            <a:custGeom>
              <a:avLst/>
              <a:gdLst>
                <a:gd name="connsiteX0" fmla="*/ 0 w 822667"/>
                <a:gd name="connsiteY0" fmla="*/ 0 h 826593"/>
                <a:gd name="connsiteX1" fmla="*/ 689521 w 822667"/>
                <a:gd name="connsiteY1" fmla="*/ 0 h 826593"/>
                <a:gd name="connsiteX2" fmla="*/ 689521 w 822667"/>
                <a:gd name="connsiteY2" fmla="*/ 267303 h 826593"/>
                <a:gd name="connsiteX3" fmla="*/ 697635 w 822667"/>
                <a:gd name="connsiteY3" fmla="*/ 261833 h 826593"/>
                <a:gd name="connsiteX4" fmla="*/ 732667 w 822667"/>
                <a:gd name="connsiteY4" fmla="*/ 254760 h 826593"/>
                <a:gd name="connsiteX5" fmla="*/ 822667 w 822667"/>
                <a:gd name="connsiteY5" fmla="*/ 344760 h 826593"/>
                <a:gd name="connsiteX6" fmla="*/ 732667 w 822667"/>
                <a:gd name="connsiteY6" fmla="*/ 434760 h 826593"/>
                <a:gd name="connsiteX7" fmla="*/ 697635 w 822667"/>
                <a:gd name="connsiteY7" fmla="*/ 427688 h 826593"/>
                <a:gd name="connsiteX8" fmla="*/ 689521 w 822667"/>
                <a:gd name="connsiteY8" fmla="*/ 422217 h 826593"/>
                <a:gd name="connsiteX9" fmla="*/ 689521 w 822667"/>
                <a:gd name="connsiteY9" fmla="*/ 689521 h 826593"/>
                <a:gd name="connsiteX10" fmla="*/ 419570 w 822667"/>
                <a:gd name="connsiteY10" fmla="*/ 689521 h 826593"/>
                <a:gd name="connsiteX11" fmla="*/ 427688 w 822667"/>
                <a:gd name="connsiteY11" fmla="*/ 701561 h 826593"/>
                <a:gd name="connsiteX12" fmla="*/ 434760 w 822667"/>
                <a:gd name="connsiteY12" fmla="*/ 736593 h 826593"/>
                <a:gd name="connsiteX13" fmla="*/ 344760 w 822667"/>
                <a:gd name="connsiteY13" fmla="*/ 826593 h 826593"/>
                <a:gd name="connsiteX14" fmla="*/ 254760 w 822667"/>
                <a:gd name="connsiteY14" fmla="*/ 736593 h 826593"/>
                <a:gd name="connsiteX15" fmla="*/ 261833 w 822667"/>
                <a:gd name="connsiteY15" fmla="*/ 701561 h 826593"/>
                <a:gd name="connsiteX16" fmla="*/ 269950 w 822667"/>
                <a:gd name="connsiteY16" fmla="*/ 689521 h 826593"/>
                <a:gd name="connsiteX17" fmla="*/ 0 w 822667"/>
                <a:gd name="connsiteY17" fmla="*/ 689521 h 826593"/>
                <a:gd name="connsiteX18" fmla="*/ 0 w 822667"/>
                <a:gd name="connsiteY18" fmla="*/ 471582 h 826593"/>
                <a:gd name="connsiteX19" fmla="*/ 4423 w 822667"/>
                <a:gd name="connsiteY19" fmla="*/ 472475 h 826593"/>
                <a:gd name="connsiteX20" fmla="*/ 132138 w 822667"/>
                <a:gd name="connsiteY20" fmla="*/ 344760 h 826593"/>
                <a:gd name="connsiteX21" fmla="*/ 4423 w 822667"/>
                <a:gd name="connsiteY21" fmla="*/ 217045 h 826593"/>
                <a:gd name="connsiteX22" fmla="*/ 0 w 822667"/>
                <a:gd name="connsiteY22" fmla="*/ 217938 h 8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2667" h="826593">
                  <a:moveTo>
                    <a:pt x="0" y="0"/>
                  </a:moveTo>
                  <a:lnTo>
                    <a:pt x="689521" y="0"/>
                  </a:lnTo>
                  <a:lnTo>
                    <a:pt x="689521" y="267303"/>
                  </a:lnTo>
                  <a:lnTo>
                    <a:pt x="697635" y="261833"/>
                  </a:lnTo>
                  <a:cubicBezTo>
                    <a:pt x="708403" y="257279"/>
                    <a:pt x="720241" y="254760"/>
                    <a:pt x="732667" y="254760"/>
                  </a:cubicBezTo>
                  <a:cubicBezTo>
                    <a:pt x="782373" y="254760"/>
                    <a:pt x="822667" y="295054"/>
                    <a:pt x="822667" y="344760"/>
                  </a:cubicBezTo>
                  <a:cubicBezTo>
                    <a:pt x="822667" y="394466"/>
                    <a:pt x="782373" y="434760"/>
                    <a:pt x="732667" y="434760"/>
                  </a:cubicBezTo>
                  <a:cubicBezTo>
                    <a:pt x="720241" y="434760"/>
                    <a:pt x="708403" y="432242"/>
                    <a:pt x="697635" y="427688"/>
                  </a:cubicBezTo>
                  <a:lnTo>
                    <a:pt x="689521" y="422217"/>
                  </a:lnTo>
                  <a:lnTo>
                    <a:pt x="689521" y="689521"/>
                  </a:lnTo>
                  <a:lnTo>
                    <a:pt x="419570" y="689521"/>
                  </a:lnTo>
                  <a:lnTo>
                    <a:pt x="427688" y="701561"/>
                  </a:lnTo>
                  <a:cubicBezTo>
                    <a:pt x="432242" y="712328"/>
                    <a:pt x="434760" y="724167"/>
                    <a:pt x="434760" y="736593"/>
                  </a:cubicBezTo>
                  <a:cubicBezTo>
                    <a:pt x="434760" y="786299"/>
                    <a:pt x="394466" y="826593"/>
                    <a:pt x="344760" y="826593"/>
                  </a:cubicBezTo>
                  <a:cubicBezTo>
                    <a:pt x="295054" y="826593"/>
                    <a:pt x="254760" y="786299"/>
                    <a:pt x="254760" y="736593"/>
                  </a:cubicBezTo>
                  <a:cubicBezTo>
                    <a:pt x="254760" y="724167"/>
                    <a:pt x="257279" y="712328"/>
                    <a:pt x="261833" y="701561"/>
                  </a:cubicBezTo>
                  <a:lnTo>
                    <a:pt x="269950" y="689521"/>
                  </a:lnTo>
                  <a:lnTo>
                    <a:pt x="0" y="689521"/>
                  </a:lnTo>
                  <a:lnTo>
                    <a:pt x="0" y="471582"/>
                  </a:lnTo>
                  <a:lnTo>
                    <a:pt x="4423" y="472475"/>
                  </a:lnTo>
                  <a:cubicBezTo>
                    <a:pt x="74958" y="472475"/>
                    <a:pt x="132138" y="415295"/>
                    <a:pt x="132138" y="344760"/>
                  </a:cubicBezTo>
                  <a:cubicBezTo>
                    <a:pt x="132138" y="274225"/>
                    <a:pt x="74958" y="217045"/>
                    <a:pt x="4423" y="217045"/>
                  </a:cubicBezTo>
                  <a:lnTo>
                    <a:pt x="0" y="217938"/>
                  </a:lnTo>
                  <a:close/>
                </a:path>
              </a:pathLst>
            </a:custGeom>
            <a:solidFill>
              <a:srgbClr val="E4DA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B5A90AF6-B2B2-4BA8-BBDD-24227C035B22}"/>
                </a:ext>
              </a:extLst>
            </p:cNvPr>
            <p:cNvSpPr/>
            <p:nvPr/>
          </p:nvSpPr>
          <p:spPr>
            <a:xfrm>
              <a:off x="4976594" y="3443180"/>
              <a:ext cx="828303" cy="824780"/>
            </a:xfrm>
            <a:custGeom>
              <a:avLst/>
              <a:gdLst>
                <a:gd name="connsiteX0" fmla="*/ 344760 w 828303"/>
                <a:gd name="connsiteY0" fmla="*/ 0 h 824780"/>
                <a:gd name="connsiteX1" fmla="*/ 434760 w 828303"/>
                <a:gd name="connsiteY1" fmla="*/ 90000 h 824780"/>
                <a:gd name="connsiteX2" fmla="*/ 427688 w 828303"/>
                <a:gd name="connsiteY2" fmla="*/ 125032 h 824780"/>
                <a:gd name="connsiteX3" fmla="*/ 420793 w 828303"/>
                <a:gd name="connsiteY3" fmla="*/ 135259 h 824780"/>
                <a:gd name="connsiteX4" fmla="*/ 689521 w 828303"/>
                <a:gd name="connsiteY4" fmla="*/ 135259 h 824780"/>
                <a:gd name="connsiteX5" fmla="*/ 689521 w 828303"/>
                <a:gd name="connsiteY5" fmla="*/ 406362 h 824780"/>
                <a:gd name="connsiteX6" fmla="*/ 703271 w 828303"/>
                <a:gd name="connsiteY6" fmla="*/ 397092 h 824780"/>
                <a:gd name="connsiteX7" fmla="*/ 738303 w 828303"/>
                <a:gd name="connsiteY7" fmla="*/ 390019 h 824780"/>
                <a:gd name="connsiteX8" fmla="*/ 828303 w 828303"/>
                <a:gd name="connsiteY8" fmla="*/ 480019 h 824780"/>
                <a:gd name="connsiteX9" fmla="*/ 738303 w 828303"/>
                <a:gd name="connsiteY9" fmla="*/ 570019 h 824780"/>
                <a:gd name="connsiteX10" fmla="*/ 703271 w 828303"/>
                <a:gd name="connsiteY10" fmla="*/ 562947 h 824780"/>
                <a:gd name="connsiteX11" fmla="*/ 689521 w 828303"/>
                <a:gd name="connsiteY11" fmla="*/ 553676 h 824780"/>
                <a:gd name="connsiteX12" fmla="*/ 689521 w 828303"/>
                <a:gd name="connsiteY12" fmla="*/ 824780 h 824780"/>
                <a:gd name="connsiteX13" fmla="*/ 471994 w 828303"/>
                <a:gd name="connsiteY13" fmla="*/ 824780 h 824780"/>
                <a:gd name="connsiteX14" fmla="*/ 472475 w 828303"/>
                <a:gd name="connsiteY14" fmla="*/ 822395 h 824780"/>
                <a:gd name="connsiteX15" fmla="*/ 344760 w 828303"/>
                <a:gd name="connsiteY15" fmla="*/ 694680 h 824780"/>
                <a:gd name="connsiteX16" fmla="*/ 217045 w 828303"/>
                <a:gd name="connsiteY16" fmla="*/ 822395 h 824780"/>
                <a:gd name="connsiteX17" fmla="*/ 217527 w 828303"/>
                <a:gd name="connsiteY17" fmla="*/ 824780 h 824780"/>
                <a:gd name="connsiteX18" fmla="*/ 0 w 828303"/>
                <a:gd name="connsiteY18" fmla="*/ 824780 h 824780"/>
                <a:gd name="connsiteX19" fmla="*/ 0 w 828303"/>
                <a:gd name="connsiteY19" fmla="*/ 135259 h 824780"/>
                <a:gd name="connsiteX20" fmla="*/ 268728 w 828303"/>
                <a:gd name="connsiteY20" fmla="*/ 135259 h 824780"/>
                <a:gd name="connsiteX21" fmla="*/ 261833 w 828303"/>
                <a:gd name="connsiteY21" fmla="*/ 125032 h 824780"/>
                <a:gd name="connsiteX22" fmla="*/ 254760 w 828303"/>
                <a:gd name="connsiteY22" fmla="*/ 90000 h 824780"/>
                <a:gd name="connsiteX23" fmla="*/ 344760 w 828303"/>
                <a:gd name="connsiteY23" fmla="*/ 0 h 82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28303" h="824780">
                  <a:moveTo>
                    <a:pt x="344760" y="0"/>
                  </a:moveTo>
                  <a:cubicBezTo>
                    <a:pt x="394466" y="0"/>
                    <a:pt x="434760" y="40294"/>
                    <a:pt x="434760" y="90000"/>
                  </a:cubicBezTo>
                  <a:cubicBezTo>
                    <a:pt x="434760" y="102426"/>
                    <a:pt x="432242" y="114265"/>
                    <a:pt x="427688" y="125032"/>
                  </a:cubicBezTo>
                  <a:lnTo>
                    <a:pt x="420793" y="135259"/>
                  </a:lnTo>
                  <a:lnTo>
                    <a:pt x="689521" y="135259"/>
                  </a:lnTo>
                  <a:lnTo>
                    <a:pt x="689521" y="406362"/>
                  </a:lnTo>
                  <a:lnTo>
                    <a:pt x="703271" y="397092"/>
                  </a:lnTo>
                  <a:cubicBezTo>
                    <a:pt x="714039" y="392538"/>
                    <a:pt x="725877" y="390019"/>
                    <a:pt x="738303" y="390019"/>
                  </a:cubicBezTo>
                  <a:cubicBezTo>
                    <a:pt x="788009" y="390019"/>
                    <a:pt x="828303" y="430313"/>
                    <a:pt x="828303" y="480019"/>
                  </a:cubicBezTo>
                  <a:cubicBezTo>
                    <a:pt x="828303" y="529725"/>
                    <a:pt x="788009" y="570019"/>
                    <a:pt x="738303" y="570019"/>
                  </a:cubicBezTo>
                  <a:cubicBezTo>
                    <a:pt x="725877" y="570019"/>
                    <a:pt x="714039" y="567501"/>
                    <a:pt x="703271" y="562947"/>
                  </a:cubicBezTo>
                  <a:lnTo>
                    <a:pt x="689521" y="553676"/>
                  </a:lnTo>
                  <a:lnTo>
                    <a:pt x="689521" y="824780"/>
                  </a:lnTo>
                  <a:lnTo>
                    <a:pt x="471994" y="824780"/>
                  </a:lnTo>
                  <a:lnTo>
                    <a:pt x="472475" y="822395"/>
                  </a:lnTo>
                  <a:cubicBezTo>
                    <a:pt x="472475" y="751860"/>
                    <a:pt x="415295" y="694680"/>
                    <a:pt x="344760" y="694680"/>
                  </a:cubicBezTo>
                  <a:cubicBezTo>
                    <a:pt x="274225" y="694680"/>
                    <a:pt x="217045" y="751860"/>
                    <a:pt x="217045" y="822395"/>
                  </a:cubicBezTo>
                  <a:lnTo>
                    <a:pt x="217527" y="824780"/>
                  </a:lnTo>
                  <a:lnTo>
                    <a:pt x="0" y="824780"/>
                  </a:lnTo>
                  <a:lnTo>
                    <a:pt x="0" y="135259"/>
                  </a:lnTo>
                  <a:lnTo>
                    <a:pt x="268728" y="135259"/>
                  </a:lnTo>
                  <a:lnTo>
                    <a:pt x="261833" y="125032"/>
                  </a:lnTo>
                  <a:cubicBezTo>
                    <a:pt x="257279" y="114265"/>
                    <a:pt x="254760" y="102426"/>
                    <a:pt x="254760" y="90000"/>
                  </a:cubicBezTo>
                  <a:cubicBezTo>
                    <a:pt x="254760" y="40294"/>
                    <a:pt x="295054" y="0"/>
                    <a:pt x="34476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F559DCE6-D88B-4E1A-8445-5D34065E5EA6}"/>
                </a:ext>
              </a:extLst>
            </p:cNvPr>
            <p:cNvSpPr/>
            <p:nvPr/>
          </p:nvSpPr>
          <p:spPr>
            <a:xfrm>
              <a:off x="6309834" y="3578439"/>
              <a:ext cx="826759" cy="827620"/>
            </a:xfrm>
            <a:custGeom>
              <a:avLst/>
              <a:gdLst>
                <a:gd name="connsiteX0" fmla="*/ 137239 w 826759"/>
                <a:gd name="connsiteY0" fmla="*/ 0 h 827620"/>
                <a:gd name="connsiteX1" fmla="*/ 354557 w 826759"/>
                <a:gd name="connsiteY1" fmla="*/ 0 h 827620"/>
                <a:gd name="connsiteX2" fmla="*/ 354284 w 826759"/>
                <a:gd name="connsiteY2" fmla="*/ 1353 h 827620"/>
                <a:gd name="connsiteX3" fmla="*/ 481999 w 826759"/>
                <a:gd name="connsiteY3" fmla="*/ 129068 h 827620"/>
                <a:gd name="connsiteX4" fmla="*/ 609714 w 826759"/>
                <a:gd name="connsiteY4" fmla="*/ 1353 h 827620"/>
                <a:gd name="connsiteX5" fmla="*/ 609441 w 826759"/>
                <a:gd name="connsiteY5" fmla="*/ 0 h 827620"/>
                <a:gd name="connsiteX6" fmla="*/ 826759 w 826759"/>
                <a:gd name="connsiteY6" fmla="*/ 0 h 827620"/>
                <a:gd name="connsiteX7" fmla="*/ 826759 w 826759"/>
                <a:gd name="connsiteY7" fmla="*/ 689521 h 827620"/>
                <a:gd name="connsiteX8" fmla="*/ 556117 w 826759"/>
                <a:gd name="connsiteY8" fmla="*/ 689521 h 827620"/>
                <a:gd name="connsiteX9" fmla="*/ 564927 w 826759"/>
                <a:gd name="connsiteY9" fmla="*/ 702588 h 827620"/>
                <a:gd name="connsiteX10" fmla="*/ 571999 w 826759"/>
                <a:gd name="connsiteY10" fmla="*/ 737620 h 827620"/>
                <a:gd name="connsiteX11" fmla="*/ 481999 w 826759"/>
                <a:gd name="connsiteY11" fmla="*/ 827620 h 827620"/>
                <a:gd name="connsiteX12" fmla="*/ 391999 w 826759"/>
                <a:gd name="connsiteY12" fmla="*/ 737620 h 827620"/>
                <a:gd name="connsiteX13" fmla="*/ 399072 w 826759"/>
                <a:gd name="connsiteY13" fmla="*/ 702588 h 827620"/>
                <a:gd name="connsiteX14" fmla="*/ 407882 w 826759"/>
                <a:gd name="connsiteY14" fmla="*/ 689521 h 827620"/>
                <a:gd name="connsiteX15" fmla="*/ 137239 w 826759"/>
                <a:gd name="connsiteY15" fmla="*/ 689521 h 827620"/>
                <a:gd name="connsiteX16" fmla="*/ 137239 w 826759"/>
                <a:gd name="connsiteY16" fmla="*/ 419458 h 827620"/>
                <a:gd name="connsiteX17" fmla="*/ 125032 w 826759"/>
                <a:gd name="connsiteY17" fmla="*/ 427688 h 827620"/>
                <a:gd name="connsiteX18" fmla="*/ 90000 w 826759"/>
                <a:gd name="connsiteY18" fmla="*/ 434760 h 827620"/>
                <a:gd name="connsiteX19" fmla="*/ 0 w 826759"/>
                <a:gd name="connsiteY19" fmla="*/ 344760 h 827620"/>
                <a:gd name="connsiteX20" fmla="*/ 90000 w 826759"/>
                <a:gd name="connsiteY20" fmla="*/ 254760 h 827620"/>
                <a:gd name="connsiteX21" fmla="*/ 125032 w 826759"/>
                <a:gd name="connsiteY21" fmla="*/ 261833 h 827620"/>
                <a:gd name="connsiteX22" fmla="*/ 137239 w 826759"/>
                <a:gd name="connsiteY22" fmla="*/ 270063 h 82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6759" h="827620">
                  <a:moveTo>
                    <a:pt x="137239" y="0"/>
                  </a:moveTo>
                  <a:lnTo>
                    <a:pt x="354557" y="0"/>
                  </a:lnTo>
                  <a:lnTo>
                    <a:pt x="354284" y="1353"/>
                  </a:lnTo>
                  <a:cubicBezTo>
                    <a:pt x="354284" y="71888"/>
                    <a:pt x="411464" y="129068"/>
                    <a:pt x="481999" y="129068"/>
                  </a:cubicBezTo>
                  <a:cubicBezTo>
                    <a:pt x="552534" y="129068"/>
                    <a:pt x="609714" y="71888"/>
                    <a:pt x="609714" y="1353"/>
                  </a:cubicBezTo>
                  <a:lnTo>
                    <a:pt x="609441" y="0"/>
                  </a:lnTo>
                  <a:lnTo>
                    <a:pt x="826759" y="0"/>
                  </a:lnTo>
                  <a:lnTo>
                    <a:pt x="826759" y="689521"/>
                  </a:lnTo>
                  <a:lnTo>
                    <a:pt x="556117" y="689521"/>
                  </a:lnTo>
                  <a:lnTo>
                    <a:pt x="564927" y="702588"/>
                  </a:lnTo>
                  <a:cubicBezTo>
                    <a:pt x="569481" y="713355"/>
                    <a:pt x="571999" y="725194"/>
                    <a:pt x="571999" y="737620"/>
                  </a:cubicBezTo>
                  <a:cubicBezTo>
                    <a:pt x="571999" y="787326"/>
                    <a:pt x="531705" y="827620"/>
                    <a:pt x="481999" y="827620"/>
                  </a:cubicBezTo>
                  <a:cubicBezTo>
                    <a:pt x="432293" y="827620"/>
                    <a:pt x="391999" y="787326"/>
                    <a:pt x="391999" y="737620"/>
                  </a:cubicBezTo>
                  <a:cubicBezTo>
                    <a:pt x="391999" y="725194"/>
                    <a:pt x="394518" y="713355"/>
                    <a:pt x="399072" y="702588"/>
                  </a:cubicBezTo>
                  <a:lnTo>
                    <a:pt x="407882" y="689521"/>
                  </a:lnTo>
                  <a:lnTo>
                    <a:pt x="137239" y="689521"/>
                  </a:lnTo>
                  <a:lnTo>
                    <a:pt x="137239" y="419458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7239" y="27006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02F0DF5A-B868-4857-BFCE-C7CCE4B80A22}"/>
                </a:ext>
              </a:extLst>
            </p:cNvPr>
            <p:cNvSpPr/>
            <p:nvPr/>
          </p:nvSpPr>
          <p:spPr>
            <a:xfrm>
              <a:off x="5576114" y="4313679"/>
              <a:ext cx="825240" cy="689520"/>
            </a:xfrm>
            <a:custGeom>
              <a:avLst/>
              <a:gdLst>
                <a:gd name="connsiteX0" fmla="*/ 135719 w 825240"/>
                <a:gd name="connsiteY0" fmla="*/ 0 h 689520"/>
                <a:gd name="connsiteX1" fmla="*/ 353245 w 825240"/>
                <a:gd name="connsiteY1" fmla="*/ 0 h 689520"/>
                <a:gd name="connsiteX2" fmla="*/ 352764 w 825240"/>
                <a:gd name="connsiteY2" fmla="*/ 2381 h 689520"/>
                <a:gd name="connsiteX3" fmla="*/ 480479 w 825240"/>
                <a:gd name="connsiteY3" fmla="*/ 130096 h 689520"/>
                <a:gd name="connsiteX4" fmla="*/ 608194 w 825240"/>
                <a:gd name="connsiteY4" fmla="*/ 2381 h 689520"/>
                <a:gd name="connsiteX5" fmla="*/ 607714 w 825240"/>
                <a:gd name="connsiteY5" fmla="*/ 0 h 689520"/>
                <a:gd name="connsiteX6" fmla="*/ 825240 w 825240"/>
                <a:gd name="connsiteY6" fmla="*/ 0 h 689520"/>
                <a:gd name="connsiteX7" fmla="*/ 825240 w 825240"/>
                <a:gd name="connsiteY7" fmla="*/ 217183 h 689520"/>
                <a:gd name="connsiteX8" fmla="*/ 776209 w 825240"/>
                <a:gd name="connsiteY8" fmla="*/ 227082 h 689520"/>
                <a:gd name="connsiteX9" fmla="*/ 698206 w 825240"/>
                <a:gd name="connsiteY9" fmla="*/ 344760 h 689520"/>
                <a:gd name="connsiteX10" fmla="*/ 776209 w 825240"/>
                <a:gd name="connsiteY10" fmla="*/ 462439 h 689520"/>
                <a:gd name="connsiteX11" fmla="*/ 825240 w 825240"/>
                <a:gd name="connsiteY11" fmla="*/ 472338 h 689520"/>
                <a:gd name="connsiteX12" fmla="*/ 825240 w 825240"/>
                <a:gd name="connsiteY12" fmla="*/ 689520 h 689520"/>
                <a:gd name="connsiteX13" fmla="*/ 135719 w 825240"/>
                <a:gd name="connsiteY13" fmla="*/ 689520 h 689520"/>
                <a:gd name="connsiteX14" fmla="*/ 135719 w 825240"/>
                <a:gd name="connsiteY14" fmla="*/ 420482 h 689520"/>
                <a:gd name="connsiteX15" fmla="*/ 125032 w 825240"/>
                <a:gd name="connsiteY15" fmla="*/ 427688 h 689520"/>
                <a:gd name="connsiteX16" fmla="*/ 90000 w 825240"/>
                <a:gd name="connsiteY16" fmla="*/ 434760 h 689520"/>
                <a:gd name="connsiteX17" fmla="*/ 0 w 825240"/>
                <a:gd name="connsiteY17" fmla="*/ 344760 h 689520"/>
                <a:gd name="connsiteX18" fmla="*/ 90000 w 825240"/>
                <a:gd name="connsiteY18" fmla="*/ 254760 h 689520"/>
                <a:gd name="connsiteX19" fmla="*/ 125032 w 825240"/>
                <a:gd name="connsiteY19" fmla="*/ 261833 h 689520"/>
                <a:gd name="connsiteX20" fmla="*/ 135719 w 825240"/>
                <a:gd name="connsiteY20" fmla="*/ 269038 h 68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25240" h="689520">
                  <a:moveTo>
                    <a:pt x="135719" y="0"/>
                  </a:moveTo>
                  <a:lnTo>
                    <a:pt x="353245" y="0"/>
                  </a:lnTo>
                  <a:lnTo>
                    <a:pt x="352764" y="2381"/>
                  </a:lnTo>
                  <a:cubicBezTo>
                    <a:pt x="352764" y="72916"/>
                    <a:pt x="409944" y="130096"/>
                    <a:pt x="480479" y="130096"/>
                  </a:cubicBezTo>
                  <a:cubicBezTo>
                    <a:pt x="551014" y="130096"/>
                    <a:pt x="608194" y="72916"/>
                    <a:pt x="608194" y="2381"/>
                  </a:cubicBezTo>
                  <a:lnTo>
                    <a:pt x="607714" y="0"/>
                  </a:lnTo>
                  <a:lnTo>
                    <a:pt x="825240" y="0"/>
                  </a:lnTo>
                  <a:lnTo>
                    <a:pt x="825240" y="217183"/>
                  </a:lnTo>
                  <a:lnTo>
                    <a:pt x="776209" y="227082"/>
                  </a:lnTo>
                  <a:cubicBezTo>
                    <a:pt x="730370" y="246470"/>
                    <a:pt x="698206" y="291859"/>
                    <a:pt x="698206" y="344760"/>
                  </a:cubicBezTo>
                  <a:cubicBezTo>
                    <a:pt x="698206" y="397661"/>
                    <a:pt x="730370" y="443051"/>
                    <a:pt x="776209" y="462439"/>
                  </a:cubicBezTo>
                  <a:lnTo>
                    <a:pt x="825240" y="472338"/>
                  </a:lnTo>
                  <a:lnTo>
                    <a:pt x="825240" y="689520"/>
                  </a:lnTo>
                  <a:lnTo>
                    <a:pt x="135719" y="689520"/>
                  </a:lnTo>
                  <a:lnTo>
                    <a:pt x="135719" y="420482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5719" y="26903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pic>
        <p:nvPicPr>
          <p:cNvPr id="28" name="Grafik 27">
            <a:extLst>
              <a:ext uri="{FF2B5EF4-FFF2-40B4-BE49-F238E27FC236}">
                <a16:creationId xmlns:a16="http://schemas.microsoft.com/office/drawing/2014/main" id="{DEC608FC-E750-4D01-8415-493779D19F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9856" y="3652644"/>
            <a:ext cx="698238" cy="698238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BC7CFA1A-DC1F-41A3-A524-57DCD0F60C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64444" y="4740384"/>
            <a:ext cx="698238" cy="698238"/>
          </a:xfrm>
          <a:prstGeom prst="rect">
            <a:avLst/>
          </a:prstGeom>
        </p:spPr>
      </p:pic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0A9429AE-7EA5-49C0-B948-B8FA85C0387E}"/>
              </a:ext>
            </a:extLst>
          </p:cNvPr>
          <p:cNvCxnSpPr>
            <a:cxnSpLocks/>
          </p:cNvCxnSpPr>
          <p:nvPr/>
        </p:nvCxnSpPr>
        <p:spPr>
          <a:xfrm flipH="1">
            <a:off x="7464152" y="3761602"/>
            <a:ext cx="648072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30D0EA8C-173D-415F-F5CD-023B2BDE166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16800" y="2710800"/>
            <a:ext cx="698400" cy="6984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49400B0-1E8A-8635-3810-D8678ABBDF9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670800" y="37908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794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ijAQqcQ0aITwZc9BpfnQ"/>
</p:tagLst>
</file>

<file path=ppt/theme/theme1.xml><?xml version="1.0" encoding="utf-8"?>
<a:theme xmlns:a="http://schemas.openxmlformats.org/drawingml/2006/main" name="Master Netze BW 2023">
  <a:themeElements>
    <a:clrScheme name="Netze BW">
      <a:dk1>
        <a:srgbClr val="322A26"/>
      </a:dk1>
      <a:lt1>
        <a:sysClr val="window" lastClr="FFFFFF"/>
      </a:lt1>
      <a:dk2>
        <a:srgbClr val="000099"/>
      </a:dk2>
      <a:lt2>
        <a:srgbClr val="FE8F11"/>
      </a:lt2>
      <a:accent1>
        <a:srgbClr val="E4DAD4"/>
      </a:accent1>
      <a:accent2>
        <a:srgbClr val="84C041"/>
      </a:accent2>
      <a:accent3>
        <a:srgbClr val="5BE3D6"/>
      </a:accent3>
      <a:accent4>
        <a:srgbClr val="1195EB"/>
      </a:accent4>
      <a:accent5>
        <a:srgbClr val="FDC83A"/>
      </a:accent5>
      <a:accent6>
        <a:srgbClr val="E2C39A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72000" tIns="36000" rIns="72000" bIns="36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06032022_Master_EnBW.potx" id="{394A1590-115C-4BED-BDA5-FCCD9D521D28}" vid="{0AF84CAB-E34E-43A1-999B-294B25203625}"/>
    </a:ext>
  </a:extLst>
</a:theme>
</file>

<file path=ppt/theme/theme2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1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2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3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4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5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04EE51E3C992947B914B1847F74DDF2" ma:contentTypeVersion="16" ma:contentTypeDescription="Create a new document." ma:contentTypeScope="" ma:versionID="003275d051b381d89db2582bc59027d8">
  <xsd:schema xmlns:xsd="http://www.w3.org/2001/XMLSchema" xmlns:xs="http://www.w3.org/2001/XMLSchema" xmlns:p="http://schemas.microsoft.com/office/2006/metadata/properties" xmlns:ns2="acbe3f49-9d46-442b-bd91-f8d738a9d233" xmlns:ns3="67aa796f-66a1-4674-ac9d-f847a528ea7e" targetNamespace="http://schemas.microsoft.com/office/2006/metadata/properties" ma:root="true" ma:fieldsID="dc2c160c25a1614d7298f0bf1eff9115" ns2:_="" ns3:_="">
    <xsd:import namespace="acbe3f49-9d46-442b-bd91-f8d738a9d233"/>
    <xsd:import namespace="67aa796f-66a1-4674-ac9d-f847a528ea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be3f49-9d46-442b-bd91-f8d738a9d23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dc9490c-4a27-4737-b814-fbfca88d1f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aa796f-66a1-4674-ac9d-f847a528ea7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0a5a12a-2161-4769-8bd3-594f023355c0}" ma:internalName="TaxCatchAll" ma:showField="CatchAllData" ma:web="67aa796f-66a1-4674-ac9d-f847a528ea7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7aa796f-66a1-4674-ac9d-f847a528ea7e" xsi:nil="true"/>
    <lcf76f155ced4ddcb4097134ff3c332f xmlns="acbe3f49-9d46-442b-bd91-f8d738a9d233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5F5CAC56-7C2D-46F3-9276-EAB6211DFEC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be3f49-9d46-442b-bd91-f8d738a9d233"/>
    <ds:schemaRef ds:uri="67aa796f-66a1-4674-ac9d-f847a528ea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30D140B-7B6E-4148-A39F-11575C3F5C8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165E9F-071E-4DE6-8F36-38BA3B9AB14D}">
  <ds:schemaRefs>
    <ds:schemaRef ds:uri="http://schemas.microsoft.com/office/2006/metadata/properties"/>
    <ds:schemaRef ds:uri="http://schemas.microsoft.com/office/infopath/2007/PartnerControls"/>
    <ds:schemaRef ds:uri="67aa796f-66a1-4674-ac9d-f847a528ea7e"/>
    <ds:schemaRef ds:uri="acbe3f49-9d46-442b-bd91-f8d738a9d23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042022_Master_EnBW</Template>
  <TotalTime>0</TotalTime>
  <Words>7860</Words>
  <Application>Microsoft Office PowerPoint</Application>
  <PresentationFormat>Breitbild</PresentationFormat>
  <Paragraphs>1532</Paragraphs>
  <Slides>117</Slides>
  <Notes>1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17</vt:i4>
      </vt:variant>
    </vt:vector>
  </HeadingPairs>
  <TitlesOfParts>
    <vt:vector size="126" baseType="lpstr">
      <vt:lpstr>Arial</vt:lpstr>
      <vt:lpstr>Calibri</vt:lpstr>
      <vt:lpstr>EnBW DIN Pro</vt:lpstr>
      <vt:lpstr>EnBW DIN Pro Medium</vt:lpstr>
      <vt:lpstr>Mark OT Medium</vt:lpstr>
      <vt:lpstr>Times New Roman</vt:lpstr>
      <vt:lpstr>Wingdings</vt:lpstr>
      <vt:lpstr>Wingdings 2</vt:lpstr>
      <vt:lpstr>Master Netze BW 2023</vt:lpstr>
      <vt:lpstr>Titel zwei- bis vierzeilig lorem ohne Bild lorem ipsum</vt:lpstr>
      <vt:lpstr>Titel zwei- bis vierzeilig lorem ohne Bild lorem ipsum</vt:lpstr>
      <vt:lpstr>Titel zwei- bis vierzeilig lorem mit Bild lorem</vt:lpstr>
      <vt:lpstr>Titel zwei- bis vierzeilig lorem mit Bild lorem</vt:lpstr>
      <vt:lpstr>Titel zwei- bis vierzeilig lorem mit Bild lorem</vt:lpstr>
      <vt:lpstr>Titel zwei- bis vierzeilig lorem mit Bild lorem</vt:lpstr>
      <vt:lpstr>Titel zwei- bis vierzeilig lorem mit Bild lorem</vt:lpstr>
      <vt:lpstr>Titel zwei- bis vierzeilig lorem mit Bild lorem</vt:lpstr>
      <vt:lpstr>Platzhalter Kapitelname</vt:lpstr>
      <vt:lpstr>Platzhalter Kapitelname</vt:lpstr>
      <vt:lpstr>Inhalt</vt:lpstr>
      <vt:lpstr>Inhalt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owerPoint-Präsentation</vt:lpstr>
      <vt:lpstr>PowerPoint-Präsentation</vt:lpstr>
      <vt:lpstr>Lorem mit Bild sit amet con</vt:lpstr>
      <vt:lpstr>Lorem mit Bild sit amet con</vt:lpstr>
      <vt:lpstr>Vielen Dank</vt:lpstr>
      <vt:lpstr>Vielen Dank</vt:lpstr>
      <vt:lpstr>Netze BW Folienbibliothek</vt:lpstr>
      <vt:lpstr>Allgemeine Vorgaben </vt:lpstr>
      <vt:lpstr>Icons</vt:lpstr>
      <vt:lpstr>Icons</vt:lpstr>
      <vt:lpstr>Icons</vt:lpstr>
      <vt:lpstr>Icons</vt:lpstr>
      <vt:lpstr>Zahlen</vt:lpstr>
      <vt:lpstr>Agenda</vt:lpstr>
      <vt:lpstr>Beispielfolien</vt:lpstr>
      <vt:lpstr>Platzhalter Titelbereich 28pt lorem Ipsum dolor maximal zweizeilig</vt:lpstr>
      <vt:lpstr>Platzhalter Titelbereich 28pt lorem Ipsum dolor maximal zweizeilig</vt:lpstr>
      <vt:lpstr>Diagramm, Texte und Störer</vt:lpstr>
      <vt:lpstr>Headline</vt:lpstr>
      <vt:lpstr>Textfolie mit Prozess aus der Mitte wachsend</vt:lpstr>
      <vt:lpstr>Textfolie mit Prozess aus der Mitte wachsend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Wordcloud</vt:lpstr>
      <vt:lpstr>Wordcloud</vt:lpstr>
      <vt:lpstr>Diagramme</vt:lpstr>
      <vt:lpstr>Säulendiagramm</vt:lpstr>
      <vt:lpstr>Säulendiagramm</vt:lpstr>
      <vt:lpstr>Säulendiagramm</vt:lpstr>
      <vt:lpstr>Säulendiagramm mit Kommentar</vt:lpstr>
      <vt:lpstr>Überlagerungsdiagramm</vt:lpstr>
      <vt:lpstr>Überlagerungsdiagramm mit Kommentar</vt:lpstr>
      <vt:lpstr>Wasserfalldiagramm</vt:lpstr>
      <vt:lpstr>Wasserfalldiagramm</vt:lpstr>
      <vt:lpstr>Wasserfalldiagramm mit Kommentar</vt:lpstr>
      <vt:lpstr>Wasserfalldiagramm (fallend)</vt:lpstr>
      <vt:lpstr>Wasserfalldiagramm (fallend) mit Kommentar</vt:lpstr>
      <vt:lpstr>Balkendiagramm</vt:lpstr>
      <vt:lpstr>Balkendiagramm mit Kommentar</vt:lpstr>
      <vt:lpstr>Liniendiagramm</vt:lpstr>
      <vt:lpstr>Liniendiagramm mit Kommentar</vt:lpstr>
      <vt:lpstr>Bewertung</vt:lpstr>
      <vt:lpstr>Bewertung</vt:lpstr>
      <vt:lpstr>Zwei Kreisdiagramme</vt:lpstr>
      <vt:lpstr>Zwei Kreisdiagramme</vt:lpstr>
      <vt:lpstr>Tabellen</vt:lpstr>
      <vt:lpstr>Tabelle </vt:lpstr>
      <vt:lpstr>Kostentabelle</vt:lpstr>
      <vt:lpstr>Prozesse und Projektpläne</vt:lpstr>
      <vt:lpstr>Prozess – fünf Schritte</vt:lpstr>
      <vt:lpstr>Prozess – fünf Schritte</vt:lpstr>
      <vt:lpstr>Prozess – fünf Schritte</vt:lpstr>
      <vt:lpstr>Prozess mit (Zwischen)-Zielen</vt:lpstr>
      <vt:lpstr>Prozess mit (Zwischen)-Zielen</vt:lpstr>
      <vt:lpstr>Ablauf mit verschiedenen Optionen</vt:lpstr>
      <vt:lpstr>Ablauf mit verschiedenen Optionen</vt:lpstr>
      <vt:lpstr>Ablauf – Sechs Schritte</vt:lpstr>
      <vt:lpstr>Ablauf – Sechs Schritte</vt:lpstr>
      <vt:lpstr>Zusammenhang / Kreislauf</vt:lpstr>
      <vt:lpstr>Zusammenhang / Kreislauf</vt:lpstr>
      <vt:lpstr>Prozess – fünf Schritte</vt:lpstr>
      <vt:lpstr>Kreislaufprozesse</vt:lpstr>
      <vt:lpstr>Projektplan</vt:lpstr>
      <vt:lpstr>Projektplan</vt:lpstr>
      <vt:lpstr>Projektplan</vt:lpstr>
      <vt:lpstr>Projektplan</vt:lpstr>
      <vt:lpstr>Organigramme</vt:lpstr>
      <vt:lpstr>Organigramm</vt:lpstr>
      <vt:lpstr>Organigramm</vt:lpstr>
      <vt:lpstr>Organigramm</vt:lpstr>
      <vt:lpstr>Formen und Textboxen</vt:lpstr>
      <vt:lpstr>Faktoren – Zwei</vt:lpstr>
      <vt:lpstr>Faktoren – Zwei</vt:lpstr>
      <vt:lpstr>Aktion / Reaktion</vt:lpstr>
      <vt:lpstr>Aktion / Reaktion</vt:lpstr>
      <vt:lpstr>Bestandteile (Auswahl)</vt:lpstr>
      <vt:lpstr>Bestandteile (Auswahl)</vt:lpstr>
      <vt:lpstr>Konsequenzen – Drei</vt:lpstr>
      <vt:lpstr>Konsequenzen – Drei</vt:lpstr>
      <vt:lpstr>Konsequenzen – Drei</vt:lpstr>
      <vt:lpstr>Pyramide – fünf Bestandteile</vt:lpstr>
      <vt:lpstr>Pyramide – fünf Bestandteile</vt:lpstr>
      <vt:lpstr>Pyramide – fünf Bestandteile</vt:lpstr>
      <vt:lpstr>Pyramide – fünf Bestandteile</vt:lpstr>
      <vt:lpstr>Pyramide – fünf Bestandteile mit Komentar</vt:lpstr>
      <vt:lpstr>Bestandteile – Drei</vt:lpstr>
      <vt:lpstr>Bestandteile – Drei</vt:lpstr>
      <vt:lpstr>Bestandteile – Drei</vt:lpstr>
      <vt:lpstr>Druck von vier Seiten</vt:lpstr>
      <vt:lpstr>Zentralisierung</vt:lpstr>
      <vt:lpstr>Zentralisierung</vt:lpstr>
      <vt:lpstr>Gleichgewicht herstellen</vt:lpstr>
      <vt:lpstr>SWOT-Analyse</vt:lpstr>
      <vt:lpstr>SWOT-Analys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BW Folienbibliothek</dc:title>
  <dc:creator>Josefine Adams</dc:creator>
  <cp:lastModifiedBy>Conrad Lisa</cp:lastModifiedBy>
  <cp:revision>36</cp:revision>
  <dcterms:created xsi:type="dcterms:W3CDTF">2022-02-03T12:23:30Z</dcterms:created>
  <dcterms:modified xsi:type="dcterms:W3CDTF">2023-04-21T08:1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4EE51E3C992947B914B1847F74DDF2</vt:lpwstr>
  </property>
  <property fmtid="{D5CDD505-2E9C-101B-9397-08002B2CF9AE}" pid="3" name="MediaServiceImageTags">
    <vt:lpwstr/>
  </property>
</Properties>
</file>